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256" r:id="rId2"/>
    <p:sldId id="258" r:id="rId3"/>
    <p:sldId id="289" r:id="rId4"/>
    <p:sldId id="290" r:id="rId5"/>
    <p:sldId id="291" r:id="rId6"/>
    <p:sldId id="288" r:id="rId7"/>
    <p:sldId id="271" r:id="rId8"/>
    <p:sldId id="270" r:id="rId9"/>
    <p:sldId id="286" r:id="rId10"/>
    <p:sldId id="287" r:id="rId11"/>
    <p:sldId id="272" r:id="rId12"/>
    <p:sldId id="273" r:id="rId13"/>
    <p:sldId id="275" r:id="rId14"/>
    <p:sldId id="274" r:id="rId15"/>
    <p:sldId id="276" r:id="rId16"/>
    <p:sldId id="278" r:id="rId17"/>
    <p:sldId id="279" r:id="rId18"/>
    <p:sldId id="277" r:id="rId19"/>
    <p:sldId id="280" r:id="rId20"/>
    <p:sldId id="293" r:id="rId21"/>
    <p:sldId id="294" r:id="rId22"/>
    <p:sldId id="292" r:id="rId23"/>
    <p:sldId id="295" r:id="rId24"/>
    <p:sldId id="281" r:id="rId25"/>
    <p:sldId id="282" r:id="rId26"/>
    <p:sldId id="296" r:id="rId27"/>
    <p:sldId id="285" r:id="rId28"/>
    <p:sldId id="283" r:id="rId29"/>
    <p:sldId id="284" r:id="rId30"/>
    <p:sldId id="305" r:id="rId31"/>
    <p:sldId id="297" r:id="rId32"/>
    <p:sldId id="299" r:id="rId33"/>
    <p:sldId id="298" r:id="rId34"/>
    <p:sldId id="301" r:id="rId35"/>
    <p:sldId id="302" r:id="rId36"/>
    <p:sldId id="303" r:id="rId37"/>
    <p:sldId id="306" r:id="rId38"/>
    <p:sldId id="304" r:id="rId39"/>
    <p:sldId id="307" r:id="rId40"/>
    <p:sldId id="308" r:id="rId41"/>
    <p:sldId id="314" r:id="rId42"/>
    <p:sldId id="316" r:id="rId43"/>
    <p:sldId id="309" r:id="rId44"/>
    <p:sldId id="310" r:id="rId45"/>
    <p:sldId id="311" r:id="rId46"/>
    <p:sldId id="312" r:id="rId47"/>
    <p:sldId id="313" r:id="rId48"/>
    <p:sldId id="261" r:id="rId49"/>
  </p:sldIdLst>
  <p:sldSz cx="12192000" cy="6858000"/>
  <p:notesSz cx="6858000" cy="9144000"/>
  <p:custDataLst>
    <p:tags r:id="rId5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5B96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8" autoAdjust="0"/>
    <p:restoredTop sz="96182" autoAdjust="0"/>
  </p:normalViewPr>
  <p:slideViewPr>
    <p:cSldViewPr snapToGrid="0">
      <p:cViewPr varScale="1">
        <p:scale>
          <a:sx n="136" d="100"/>
          <a:sy n="136" d="100"/>
        </p:scale>
        <p:origin x="144" y="83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9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9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452768"/>
            <a:ext cx="54229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130300"/>
            <a:ext cx="6240885" cy="286320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B067B996-1382-46F7-829D-7648B0C1B1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E66FD8EC-47D7-4C72-81DA-667D59240B3E}"/>
              </a:ext>
            </a:extLst>
          </p:cNvPr>
          <p:cNvGrpSpPr/>
          <p:nvPr userDrawn="1"/>
        </p:nvGrpSpPr>
        <p:grpSpPr>
          <a:xfrm>
            <a:off x="5641646" y="1047951"/>
            <a:ext cx="5905205" cy="5016409"/>
            <a:chOff x="5641646" y="1047951"/>
            <a:chExt cx="5905205" cy="5016409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257BC7F4-FF5D-4EA6-814E-EF456F4F52F3}"/>
                </a:ext>
              </a:extLst>
            </p:cNvPr>
            <p:cNvGrpSpPr/>
            <p:nvPr userDrawn="1"/>
          </p:nvGrpSpPr>
          <p:grpSpPr>
            <a:xfrm rot="408296">
              <a:off x="5641646" y="1047951"/>
              <a:ext cx="4395965" cy="5016409"/>
              <a:chOff x="5376239" y="929955"/>
              <a:chExt cx="4395965" cy="5016409"/>
            </a:xfrm>
          </p:grpSpPr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B68B3944-DDA3-49E2-9C7F-41D9483A2E30}"/>
                  </a:ext>
                </a:extLst>
              </p:cNvPr>
              <p:cNvGrpSpPr/>
              <p:nvPr/>
            </p:nvGrpSpPr>
            <p:grpSpPr>
              <a:xfrm rot="2133012">
                <a:off x="5376239" y="929955"/>
                <a:ext cx="3480268" cy="3498259"/>
                <a:chOff x="4821484" y="454296"/>
                <a:chExt cx="4253758" cy="4275748"/>
              </a:xfrm>
            </p:grpSpPr>
            <p:sp>
              <p:nvSpPr>
                <p:cNvPr id="20" name="文本框 19">
                  <a:extLst>
                    <a:ext uri="{FF2B5EF4-FFF2-40B4-BE49-F238E27FC236}">
                      <a16:creationId xmlns:a16="http://schemas.microsoft.com/office/drawing/2014/main" id="{8FC6D253-D0A5-4915-BF5A-443E8A726391}"/>
                    </a:ext>
                  </a:extLst>
                </p:cNvPr>
                <p:cNvSpPr txBox="1"/>
                <p:nvPr/>
              </p:nvSpPr>
              <p:spPr>
                <a:xfrm>
                  <a:off x="5171441" y="839514"/>
                  <a:ext cx="3903801" cy="38905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5705" h="872728">
                      <a:moveTo>
                        <a:pt x="431007" y="203597"/>
                      </a:moveTo>
                      <a:lnTo>
                        <a:pt x="313135" y="527447"/>
                      </a:lnTo>
                      <a:lnTo>
                        <a:pt x="551260" y="527447"/>
                      </a:lnTo>
                      <a:close/>
                      <a:moveTo>
                        <a:pt x="339924" y="0"/>
                      </a:moveTo>
                      <a:lnTo>
                        <a:pt x="526256" y="0"/>
                      </a:lnTo>
                      <a:lnTo>
                        <a:pt x="875705" y="872728"/>
                      </a:lnTo>
                      <a:lnTo>
                        <a:pt x="684014" y="872728"/>
                      </a:lnTo>
                      <a:lnTo>
                        <a:pt x="607814" y="674489"/>
                      </a:lnTo>
                      <a:lnTo>
                        <a:pt x="258961" y="674489"/>
                      </a:lnTo>
                      <a:lnTo>
                        <a:pt x="186928" y="872728"/>
                      </a:lnTo>
                      <a:lnTo>
                        <a:pt x="0" y="87272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5400">
                  <a:solidFill>
                    <a:schemeClr val="tx1"/>
                  </a:solidFill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 dirty="0"/>
                </a:p>
              </p:txBody>
            </p:sp>
            <p:sp>
              <p:nvSpPr>
                <p:cNvPr id="21" name="任意多边形: 形状 20">
                  <a:extLst>
                    <a:ext uri="{FF2B5EF4-FFF2-40B4-BE49-F238E27FC236}">
                      <a16:creationId xmlns:a16="http://schemas.microsoft.com/office/drawing/2014/main" id="{857F57BC-49C6-447B-B2B0-6511A397B15D}"/>
                    </a:ext>
                  </a:extLst>
                </p:cNvPr>
                <p:cNvSpPr/>
                <p:nvPr/>
              </p:nvSpPr>
              <p:spPr>
                <a:xfrm>
                  <a:off x="5113116" y="775311"/>
                  <a:ext cx="3903801" cy="389053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3802" h="3890531">
                      <a:moveTo>
                        <a:pt x="1921384" y="907614"/>
                      </a:moveTo>
                      <a:lnTo>
                        <a:pt x="1395923" y="2351303"/>
                      </a:lnTo>
                      <a:lnTo>
                        <a:pt x="2457459" y="2351303"/>
                      </a:lnTo>
                      <a:lnTo>
                        <a:pt x="1515346" y="0"/>
                      </a:lnTo>
                      <a:lnTo>
                        <a:pt x="2345994" y="0"/>
                      </a:lnTo>
                      <a:lnTo>
                        <a:pt x="3903801" y="3890530"/>
                      </a:lnTo>
                      <a:lnTo>
                        <a:pt x="3049263" y="3890530"/>
                      </a:lnTo>
                      <a:lnTo>
                        <a:pt x="2709571" y="3006801"/>
                      </a:lnTo>
                      <a:lnTo>
                        <a:pt x="1154421" y="3006801"/>
                      </a:lnTo>
                      <a:lnTo>
                        <a:pt x="833305" y="3890530"/>
                      </a:lnTo>
                      <a:lnTo>
                        <a:pt x="0" y="3890530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CA419B09-53A0-4663-8F57-E76D206E0869}"/>
                    </a:ext>
                  </a:extLst>
                </p:cNvPr>
                <p:cNvSpPr/>
                <p:nvPr/>
              </p:nvSpPr>
              <p:spPr>
                <a:xfrm>
                  <a:off x="5054790" y="711108"/>
                  <a:ext cx="3903801" cy="389053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3802" h="3890531">
                      <a:moveTo>
                        <a:pt x="1921384" y="907614"/>
                      </a:moveTo>
                      <a:lnTo>
                        <a:pt x="1395923" y="2351303"/>
                      </a:lnTo>
                      <a:lnTo>
                        <a:pt x="2457459" y="2351303"/>
                      </a:lnTo>
                      <a:lnTo>
                        <a:pt x="1515346" y="0"/>
                      </a:lnTo>
                      <a:lnTo>
                        <a:pt x="2345993" y="0"/>
                      </a:lnTo>
                      <a:lnTo>
                        <a:pt x="3903801" y="3890530"/>
                      </a:lnTo>
                      <a:lnTo>
                        <a:pt x="3049262" y="3890530"/>
                      </a:lnTo>
                      <a:lnTo>
                        <a:pt x="2709570" y="3006801"/>
                      </a:lnTo>
                      <a:lnTo>
                        <a:pt x="1154421" y="3006801"/>
                      </a:lnTo>
                      <a:lnTo>
                        <a:pt x="833305" y="3890530"/>
                      </a:lnTo>
                      <a:lnTo>
                        <a:pt x="0" y="3890530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E4FFA68A-FFB3-4265-82FE-070B73E5BB55}"/>
                    </a:ext>
                  </a:extLst>
                </p:cNvPr>
                <p:cNvSpPr/>
                <p:nvPr/>
              </p:nvSpPr>
              <p:spPr>
                <a:xfrm>
                  <a:off x="4996462" y="646905"/>
                  <a:ext cx="3903801" cy="389053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3803" h="3890531">
                      <a:moveTo>
                        <a:pt x="1921385" y="907614"/>
                      </a:moveTo>
                      <a:lnTo>
                        <a:pt x="1395924" y="2351303"/>
                      </a:lnTo>
                      <a:lnTo>
                        <a:pt x="2457460" y="2351303"/>
                      </a:lnTo>
                      <a:lnTo>
                        <a:pt x="1515347" y="0"/>
                      </a:lnTo>
                      <a:lnTo>
                        <a:pt x="2345994" y="0"/>
                      </a:lnTo>
                      <a:lnTo>
                        <a:pt x="3903802" y="3890530"/>
                      </a:lnTo>
                      <a:lnTo>
                        <a:pt x="3049263" y="3890530"/>
                      </a:lnTo>
                      <a:lnTo>
                        <a:pt x="2709572" y="3006801"/>
                      </a:lnTo>
                      <a:lnTo>
                        <a:pt x="1154421" y="3006801"/>
                      </a:lnTo>
                      <a:lnTo>
                        <a:pt x="833305" y="3890530"/>
                      </a:lnTo>
                      <a:lnTo>
                        <a:pt x="0" y="3890530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19297319-86A6-4054-BC2C-C1366F3B88DA}"/>
                    </a:ext>
                  </a:extLst>
                </p:cNvPr>
                <p:cNvSpPr/>
                <p:nvPr/>
              </p:nvSpPr>
              <p:spPr>
                <a:xfrm>
                  <a:off x="4938136" y="582702"/>
                  <a:ext cx="3903801" cy="389053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3803" h="3890531">
                      <a:moveTo>
                        <a:pt x="1921385" y="907614"/>
                      </a:moveTo>
                      <a:lnTo>
                        <a:pt x="1395924" y="2351303"/>
                      </a:lnTo>
                      <a:lnTo>
                        <a:pt x="2457460" y="2351303"/>
                      </a:lnTo>
                      <a:lnTo>
                        <a:pt x="1515346" y="0"/>
                      </a:lnTo>
                      <a:lnTo>
                        <a:pt x="2345995" y="0"/>
                      </a:lnTo>
                      <a:lnTo>
                        <a:pt x="3903802" y="3890530"/>
                      </a:lnTo>
                      <a:lnTo>
                        <a:pt x="3049263" y="3890530"/>
                      </a:lnTo>
                      <a:lnTo>
                        <a:pt x="2709572" y="3006801"/>
                      </a:lnTo>
                      <a:lnTo>
                        <a:pt x="1154421" y="3006801"/>
                      </a:lnTo>
                      <a:lnTo>
                        <a:pt x="833305" y="3890530"/>
                      </a:lnTo>
                      <a:lnTo>
                        <a:pt x="0" y="3890530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E49012F5-D1B8-42D6-A4FA-C855C268B5A4}"/>
                    </a:ext>
                  </a:extLst>
                </p:cNvPr>
                <p:cNvSpPr/>
                <p:nvPr/>
              </p:nvSpPr>
              <p:spPr>
                <a:xfrm>
                  <a:off x="4879811" y="518499"/>
                  <a:ext cx="3903801" cy="389053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03802" h="3890531">
                      <a:moveTo>
                        <a:pt x="1921384" y="907614"/>
                      </a:moveTo>
                      <a:lnTo>
                        <a:pt x="1395923" y="2351303"/>
                      </a:lnTo>
                      <a:lnTo>
                        <a:pt x="2457459" y="2351303"/>
                      </a:lnTo>
                      <a:lnTo>
                        <a:pt x="1515346" y="0"/>
                      </a:lnTo>
                      <a:lnTo>
                        <a:pt x="2345994" y="0"/>
                      </a:lnTo>
                      <a:lnTo>
                        <a:pt x="3903801" y="3890530"/>
                      </a:lnTo>
                      <a:lnTo>
                        <a:pt x="3049263" y="3890530"/>
                      </a:lnTo>
                      <a:lnTo>
                        <a:pt x="2709571" y="3006801"/>
                      </a:lnTo>
                      <a:lnTo>
                        <a:pt x="1154421" y="3006801"/>
                      </a:lnTo>
                      <a:lnTo>
                        <a:pt x="833305" y="3890530"/>
                      </a:lnTo>
                      <a:lnTo>
                        <a:pt x="0" y="3890530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6" name="文本框 25">
                  <a:extLst>
                    <a:ext uri="{FF2B5EF4-FFF2-40B4-BE49-F238E27FC236}">
                      <a16:creationId xmlns:a16="http://schemas.microsoft.com/office/drawing/2014/main" id="{59E3302D-06AA-4EC3-8D16-BE939E95ACE3}"/>
                    </a:ext>
                  </a:extLst>
                </p:cNvPr>
                <p:cNvSpPr txBox="1"/>
                <p:nvPr/>
              </p:nvSpPr>
              <p:spPr>
                <a:xfrm>
                  <a:off x="4821484" y="454296"/>
                  <a:ext cx="3903801" cy="38905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5705" h="872728">
                      <a:moveTo>
                        <a:pt x="431007" y="203597"/>
                      </a:moveTo>
                      <a:lnTo>
                        <a:pt x="313135" y="527447"/>
                      </a:lnTo>
                      <a:lnTo>
                        <a:pt x="551260" y="527447"/>
                      </a:lnTo>
                      <a:close/>
                      <a:moveTo>
                        <a:pt x="339924" y="0"/>
                      </a:moveTo>
                      <a:lnTo>
                        <a:pt x="526256" y="0"/>
                      </a:lnTo>
                      <a:lnTo>
                        <a:pt x="875705" y="872728"/>
                      </a:lnTo>
                      <a:lnTo>
                        <a:pt x="684014" y="872728"/>
                      </a:lnTo>
                      <a:lnTo>
                        <a:pt x="607814" y="674489"/>
                      </a:lnTo>
                      <a:lnTo>
                        <a:pt x="258961" y="674489"/>
                      </a:lnTo>
                      <a:lnTo>
                        <a:pt x="186928" y="872728"/>
                      </a:lnTo>
                      <a:lnTo>
                        <a:pt x="0" y="872728"/>
                      </a:lnTo>
                      <a:close/>
                    </a:path>
                  </a:pathLst>
                </a:custGeom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n w="25400">
                  <a:solidFill>
                    <a:schemeClr val="tx1"/>
                  </a:solidFill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 dirty="0"/>
                </a:p>
              </p:txBody>
            </p:sp>
          </p:grpSp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C7C48368-C4D7-44B4-8B1E-92764BE9AD7D}"/>
                  </a:ext>
                </a:extLst>
              </p:cNvPr>
              <p:cNvGrpSpPr/>
              <p:nvPr/>
            </p:nvGrpSpPr>
            <p:grpSpPr>
              <a:xfrm rot="2078148">
                <a:off x="8847424" y="2352172"/>
                <a:ext cx="924780" cy="3594192"/>
                <a:chOff x="8683764" y="1343102"/>
                <a:chExt cx="933958" cy="3629861"/>
              </a:xfrm>
            </p:grpSpPr>
            <p:sp>
              <p:nvSpPr>
                <p:cNvPr id="11" name="文本框 10">
                  <a:extLst>
                    <a:ext uri="{FF2B5EF4-FFF2-40B4-BE49-F238E27FC236}">
                      <a16:creationId xmlns:a16="http://schemas.microsoft.com/office/drawing/2014/main" id="{04EF477E-A642-45DE-8981-0ECA0177884B}"/>
                    </a:ext>
                  </a:extLst>
                </p:cNvPr>
                <p:cNvSpPr txBox="1"/>
                <p:nvPr/>
              </p:nvSpPr>
              <p:spPr>
                <a:xfrm>
                  <a:off x="8927318" y="1553590"/>
                  <a:ext cx="690404" cy="34193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212" h="872728">
                      <a:moveTo>
                        <a:pt x="0" y="0"/>
                      </a:moveTo>
                      <a:lnTo>
                        <a:pt x="176212" y="0"/>
                      </a:lnTo>
                      <a:lnTo>
                        <a:pt x="176212" y="872728"/>
                      </a:lnTo>
                      <a:lnTo>
                        <a:pt x="0" y="87272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5400">
                  <a:solidFill>
                    <a:schemeClr val="tx1"/>
                  </a:solidFill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 dirty="0"/>
                </a:p>
              </p:txBody>
            </p:sp>
            <p:sp>
              <p:nvSpPr>
                <p:cNvPr id="14" name="任意多边形: 形状 13">
                  <a:extLst>
                    <a:ext uri="{FF2B5EF4-FFF2-40B4-BE49-F238E27FC236}">
                      <a16:creationId xmlns:a16="http://schemas.microsoft.com/office/drawing/2014/main" id="{CEB898F2-45A1-4859-95DD-A9C2DFBE488D}"/>
                    </a:ext>
                  </a:extLst>
                </p:cNvPr>
                <p:cNvSpPr/>
                <p:nvPr/>
              </p:nvSpPr>
              <p:spPr>
                <a:xfrm>
                  <a:off x="8886726" y="1518510"/>
                  <a:ext cx="690404" cy="34193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0405" h="3419374">
                      <a:moveTo>
                        <a:pt x="0" y="0"/>
                      </a:moveTo>
                      <a:lnTo>
                        <a:pt x="690404" y="0"/>
                      </a:lnTo>
                      <a:lnTo>
                        <a:pt x="690404" y="3419373"/>
                      </a:lnTo>
                      <a:lnTo>
                        <a:pt x="0" y="3419373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" name="任意多边形: 形状 14">
                  <a:extLst>
                    <a:ext uri="{FF2B5EF4-FFF2-40B4-BE49-F238E27FC236}">
                      <a16:creationId xmlns:a16="http://schemas.microsoft.com/office/drawing/2014/main" id="{11CF46BE-FBEA-46DB-AABC-71D0B2DEE2CF}"/>
                    </a:ext>
                  </a:extLst>
                </p:cNvPr>
                <p:cNvSpPr/>
                <p:nvPr/>
              </p:nvSpPr>
              <p:spPr>
                <a:xfrm>
                  <a:off x="8846133" y="1483428"/>
                  <a:ext cx="690404" cy="34193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0405" h="3419374">
                      <a:moveTo>
                        <a:pt x="0" y="0"/>
                      </a:moveTo>
                      <a:lnTo>
                        <a:pt x="690404" y="0"/>
                      </a:lnTo>
                      <a:lnTo>
                        <a:pt x="690404" y="3419373"/>
                      </a:lnTo>
                      <a:lnTo>
                        <a:pt x="0" y="3419373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C452F02A-0C02-4AEA-B68B-9B1880DA77AD}"/>
                    </a:ext>
                  </a:extLst>
                </p:cNvPr>
                <p:cNvSpPr/>
                <p:nvPr/>
              </p:nvSpPr>
              <p:spPr>
                <a:xfrm>
                  <a:off x="8805541" y="1448347"/>
                  <a:ext cx="690404" cy="34193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0405" h="3419374">
                      <a:moveTo>
                        <a:pt x="0" y="0"/>
                      </a:moveTo>
                      <a:lnTo>
                        <a:pt x="690404" y="0"/>
                      </a:lnTo>
                      <a:lnTo>
                        <a:pt x="690404" y="3419373"/>
                      </a:lnTo>
                      <a:lnTo>
                        <a:pt x="0" y="3419373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" name="任意多边形: 形状 16">
                  <a:extLst>
                    <a:ext uri="{FF2B5EF4-FFF2-40B4-BE49-F238E27FC236}">
                      <a16:creationId xmlns:a16="http://schemas.microsoft.com/office/drawing/2014/main" id="{03AFB527-CBB3-4A60-B451-407DB04BEBAB}"/>
                    </a:ext>
                  </a:extLst>
                </p:cNvPr>
                <p:cNvSpPr/>
                <p:nvPr/>
              </p:nvSpPr>
              <p:spPr>
                <a:xfrm>
                  <a:off x="8764949" y="1413266"/>
                  <a:ext cx="690404" cy="34193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0405" h="3419374">
                      <a:moveTo>
                        <a:pt x="0" y="0"/>
                      </a:moveTo>
                      <a:lnTo>
                        <a:pt x="690404" y="0"/>
                      </a:lnTo>
                      <a:lnTo>
                        <a:pt x="690404" y="3419373"/>
                      </a:lnTo>
                      <a:lnTo>
                        <a:pt x="0" y="3419373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971CEC3-94A8-44BA-B3F3-45DA92298E53}"/>
                    </a:ext>
                  </a:extLst>
                </p:cNvPr>
                <p:cNvSpPr/>
                <p:nvPr/>
              </p:nvSpPr>
              <p:spPr>
                <a:xfrm>
                  <a:off x="8724356" y="1378184"/>
                  <a:ext cx="690404" cy="341937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690405" h="3419374">
                      <a:moveTo>
                        <a:pt x="0" y="0"/>
                      </a:moveTo>
                      <a:lnTo>
                        <a:pt x="690404" y="0"/>
                      </a:lnTo>
                      <a:lnTo>
                        <a:pt x="690404" y="3419373"/>
                      </a:lnTo>
                      <a:lnTo>
                        <a:pt x="0" y="3419373"/>
                      </a:lnTo>
                    </a:path>
                  </a:pathLst>
                </a:custGeom>
                <a:solidFill>
                  <a:srgbClr val="FFFFFF"/>
                </a:solidFill>
                <a:ln w="2540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" name="文本框 18">
                  <a:extLst>
                    <a:ext uri="{FF2B5EF4-FFF2-40B4-BE49-F238E27FC236}">
                      <a16:creationId xmlns:a16="http://schemas.microsoft.com/office/drawing/2014/main" id="{B0090C2F-BB56-44D3-8ADA-644E350613CE}"/>
                    </a:ext>
                  </a:extLst>
                </p:cNvPr>
                <p:cNvSpPr txBox="1"/>
                <p:nvPr/>
              </p:nvSpPr>
              <p:spPr>
                <a:xfrm>
                  <a:off x="8683764" y="1343102"/>
                  <a:ext cx="690404" cy="34193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212" h="872728">
                      <a:moveTo>
                        <a:pt x="0" y="0"/>
                      </a:moveTo>
                      <a:lnTo>
                        <a:pt x="176212" y="0"/>
                      </a:lnTo>
                      <a:lnTo>
                        <a:pt x="176212" y="872728"/>
                      </a:lnTo>
                      <a:lnTo>
                        <a:pt x="0" y="872728"/>
                      </a:lnTo>
                      <a:close/>
                    </a:path>
                  </a:pathLst>
                </a:custGeom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n w="25400">
                  <a:solidFill>
                    <a:schemeClr val="tx1"/>
                  </a:solidFill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 sz="9600" b="1" dirty="0"/>
                </a:p>
              </p:txBody>
            </p:sp>
          </p:grpSp>
        </p:grp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C97EE699-057D-40BA-8CF7-9715BD5C728B}"/>
                </a:ext>
              </a:extLst>
            </p:cNvPr>
            <p:cNvGrpSpPr/>
            <p:nvPr userDrawn="1"/>
          </p:nvGrpSpPr>
          <p:grpSpPr>
            <a:xfrm rot="20775945">
              <a:off x="11168241" y="2492799"/>
              <a:ext cx="378610" cy="532130"/>
              <a:chOff x="3863009" y="963295"/>
              <a:chExt cx="378610" cy="532130"/>
            </a:xfrm>
          </p:grpSpPr>
          <p:sp>
            <p:nvSpPr>
              <p:cNvPr id="28" name="菱形 306">
                <a:extLst>
                  <a:ext uri="{FF2B5EF4-FFF2-40B4-BE49-F238E27FC236}">
                    <a16:creationId xmlns:a16="http://schemas.microsoft.com/office/drawing/2014/main" id="{A9B3B883-1D47-44CF-BCED-C5C561620495}"/>
                  </a:ext>
                </a:extLst>
              </p:cNvPr>
              <p:cNvSpPr/>
              <p:nvPr/>
            </p:nvSpPr>
            <p:spPr>
              <a:xfrm>
                <a:off x="3867150" y="1130300"/>
                <a:ext cx="365125" cy="365125"/>
              </a:xfrm>
              <a:custGeom>
                <a:avLst/>
                <a:gdLst>
                  <a:gd name="connsiteX0" fmla="*/ 0 w 365125"/>
                  <a:gd name="connsiteY0" fmla="*/ 182563 h 365125"/>
                  <a:gd name="connsiteX1" fmla="*/ 182563 w 365125"/>
                  <a:gd name="connsiteY1" fmla="*/ 0 h 365125"/>
                  <a:gd name="connsiteX2" fmla="*/ 365125 w 365125"/>
                  <a:gd name="connsiteY2" fmla="*/ 182563 h 365125"/>
                  <a:gd name="connsiteX3" fmla="*/ 182563 w 365125"/>
                  <a:gd name="connsiteY3" fmla="*/ 365125 h 365125"/>
                  <a:gd name="connsiteX4" fmla="*/ 0 w 365125"/>
                  <a:gd name="connsiteY4" fmla="*/ 182563 h 365125"/>
                  <a:gd name="connsiteX0" fmla="*/ 3867150 w 4232275"/>
                  <a:gd name="connsiteY0" fmla="*/ 1312863 h 1495425"/>
                  <a:gd name="connsiteX1" fmla="*/ 0 w 4232275"/>
                  <a:gd name="connsiteY1" fmla="*/ 0 h 1495425"/>
                  <a:gd name="connsiteX2" fmla="*/ 4049713 w 4232275"/>
                  <a:gd name="connsiteY2" fmla="*/ 1130300 h 1495425"/>
                  <a:gd name="connsiteX3" fmla="*/ 4232275 w 4232275"/>
                  <a:gd name="connsiteY3" fmla="*/ 1312863 h 1495425"/>
                  <a:gd name="connsiteX4" fmla="*/ 4049713 w 4232275"/>
                  <a:gd name="connsiteY4" fmla="*/ 1495425 h 1495425"/>
                  <a:gd name="connsiteX5" fmla="*/ 3867150 w 4232275"/>
                  <a:gd name="connsiteY5" fmla="*/ 1312863 h 1495425"/>
                  <a:gd name="connsiteX0" fmla="*/ 0 w 365125"/>
                  <a:gd name="connsiteY0" fmla="*/ 182563 h 365125"/>
                  <a:gd name="connsiteX1" fmla="*/ 182563 w 365125"/>
                  <a:gd name="connsiteY1" fmla="*/ 0 h 365125"/>
                  <a:gd name="connsiteX2" fmla="*/ 365125 w 365125"/>
                  <a:gd name="connsiteY2" fmla="*/ 182563 h 365125"/>
                  <a:gd name="connsiteX3" fmla="*/ 182563 w 365125"/>
                  <a:gd name="connsiteY3" fmla="*/ 365125 h 365125"/>
                  <a:gd name="connsiteX4" fmla="*/ 0 w 365125"/>
                  <a:gd name="connsiteY4" fmla="*/ 182563 h 365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125" h="365125">
                    <a:moveTo>
                      <a:pt x="0" y="182563"/>
                    </a:moveTo>
                    <a:lnTo>
                      <a:pt x="182563" y="0"/>
                    </a:lnTo>
                    <a:lnTo>
                      <a:pt x="365125" y="182563"/>
                    </a:lnTo>
                    <a:lnTo>
                      <a:pt x="182563" y="365125"/>
                    </a:lnTo>
                    <a:lnTo>
                      <a:pt x="0" y="182563"/>
                    </a:ln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48304A70-2119-4EC9-9A1F-56E048C45F27}"/>
                  </a:ext>
                </a:extLst>
              </p:cNvPr>
              <p:cNvSpPr/>
              <p:nvPr/>
            </p:nvSpPr>
            <p:spPr>
              <a:xfrm>
                <a:off x="3863009" y="1055112"/>
                <a:ext cx="365125" cy="365125"/>
              </a:xfrm>
              <a:custGeom>
                <a:avLst/>
                <a:gdLst/>
                <a:ahLst/>
                <a:cxnLst/>
                <a:rect l="0" t="0" r="0" b="0"/>
                <a:pathLst>
                  <a:path w="365126" h="365126">
                    <a:moveTo>
                      <a:pt x="0" y="182563"/>
                    </a:moveTo>
                    <a:lnTo>
                      <a:pt x="182563" y="0"/>
                    </a:lnTo>
                    <a:lnTo>
                      <a:pt x="365125" y="182563"/>
                    </a:lnTo>
                    <a:lnTo>
                      <a:pt x="182563" y="365125"/>
                    </a:ln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菱形 307">
                <a:extLst>
                  <a:ext uri="{FF2B5EF4-FFF2-40B4-BE49-F238E27FC236}">
                    <a16:creationId xmlns:a16="http://schemas.microsoft.com/office/drawing/2014/main" id="{20FE9494-1B94-46F4-B6B6-FF4827312145}"/>
                  </a:ext>
                </a:extLst>
              </p:cNvPr>
              <p:cNvSpPr/>
              <p:nvPr/>
            </p:nvSpPr>
            <p:spPr>
              <a:xfrm>
                <a:off x="3876494" y="963295"/>
                <a:ext cx="365125" cy="365125"/>
              </a:xfrm>
              <a:custGeom>
                <a:avLst/>
                <a:gdLst>
                  <a:gd name="connsiteX0" fmla="*/ 0 w 365125"/>
                  <a:gd name="connsiteY0" fmla="*/ 182563 h 365125"/>
                  <a:gd name="connsiteX1" fmla="*/ 182563 w 365125"/>
                  <a:gd name="connsiteY1" fmla="*/ 0 h 365125"/>
                  <a:gd name="connsiteX2" fmla="*/ 365125 w 365125"/>
                  <a:gd name="connsiteY2" fmla="*/ 182563 h 365125"/>
                  <a:gd name="connsiteX3" fmla="*/ 182563 w 365125"/>
                  <a:gd name="connsiteY3" fmla="*/ 365125 h 365125"/>
                  <a:gd name="connsiteX4" fmla="*/ 0 w 365125"/>
                  <a:gd name="connsiteY4" fmla="*/ 182563 h 365125"/>
                  <a:gd name="connsiteX0" fmla="*/ 3858865 w 4223990"/>
                  <a:gd name="connsiteY0" fmla="*/ 1162485 h 1345047"/>
                  <a:gd name="connsiteX1" fmla="*/ 0 w 4223990"/>
                  <a:gd name="connsiteY1" fmla="*/ 0 h 1345047"/>
                  <a:gd name="connsiteX2" fmla="*/ 4041428 w 4223990"/>
                  <a:gd name="connsiteY2" fmla="*/ 979922 h 1345047"/>
                  <a:gd name="connsiteX3" fmla="*/ 4223990 w 4223990"/>
                  <a:gd name="connsiteY3" fmla="*/ 1162485 h 1345047"/>
                  <a:gd name="connsiteX4" fmla="*/ 4041428 w 4223990"/>
                  <a:gd name="connsiteY4" fmla="*/ 1345047 h 1345047"/>
                  <a:gd name="connsiteX5" fmla="*/ 3858865 w 4223990"/>
                  <a:gd name="connsiteY5" fmla="*/ 1162485 h 1345047"/>
                  <a:gd name="connsiteX0" fmla="*/ 0 w 365125"/>
                  <a:gd name="connsiteY0" fmla="*/ 182563 h 365125"/>
                  <a:gd name="connsiteX1" fmla="*/ 182563 w 365125"/>
                  <a:gd name="connsiteY1" fmla="*/ 0 h 365125"/>
                  <a:gd name="connsiteX2" fmla="*/ 365125 w 365125"/>
                  <a:gd name="connsiteY2" fmla="*/ 182563 h 365125"/>
                  <a:gd name="connsiteX3" fmla="*/ 182563 w 365125"/>
                  <a:gd name="connsiteY3" fmla="*/ 365125 h 365125"/>
                  <a:gd name="connsiteX4" fmla="*/ 0 w 365125"/>
                  <a:gd name="connsiteY4" fmla="*/ 182563 h 365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125" h="365125">
                    <a:moveTo>
                      <a:pt x="0" y="182563"/>
                    </a:moveTo>
                    <a:lnTo>
                      <a:pt x="182563" y="0"/>
                    </a:lnTo>
                    <a:lnTo>
                      <a:pt x="365125" y="182563"/>
                    </a:lnTo>
                    <a:lnTo>
                      <a:pt x="182563" y="365125"/>
                    </a:lnTo>
                    <a:lnTo>
                      <a:pt x="0" y="182563"/>
                    </a:ln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77343A85-A871-4A5B-B0B3-C602172AB632}"/>
                </a:ext>
              </a:extLst>
            </p:cNvPr>
            <p:cNvGrpSpPr/>
            <p:nvPr userDrawn="1"/>
          </p:nvGrpSpPr>
          <p:grpSpPr>
            <a:xfrm rot="408296">
              <a:off x="5789701" y="4860573"/>
              <a:ext cx="693896" cy="881918"/>
              <a:chOff x="3533775" y="613319"/>
              <a:chExt cx="693896" cy="881918"/>
            </a:xfrm>
          </p:grpSpPr>
          <p:sp>
            <p:nvSpPr>
              <p:cNvPr id="32" name="圆: 空心 332">
                <a:extLst>
                  <a:ext uri="{FF2B5EF4-FFF2-40B4-BE49-F238E27FC236}">
                    <a16:creationId xmlns:a16="http://schemas.microsoft.com/office/drawing/2014/main" id="{D7ED193D-4A78-4259-B74E-3562B2AA9200}"/>
                  </a:ext>
                </a:extLst>
              </p:cNvPr>
              <p:cNvSpPr/>
              <p:nvPr/>
            </p:nvSpPr>
            <p:spPr>
              <a:xfrm>
                <a:off x="3533775" y="809625"/>
                <a:ext cx="685612" cy="685612"/>
              </a:xfrm>
              <a:custGeom>
                <a:avLst/>
                <a:gdLst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  <a:gd name="connsiteX0" fmla="*/ 3533775 w 4219387"/>
                  <a:gd name="connsiteY0" fmla="*/ 1152431 h 1495237"/>
                  <a:gd name="connsiteX1" fmla="*/ 0 w 4219387"/>
                  <a:gd name="connsiteY1" fmla="*/ 0 h 1495237"/>
                  <a:gd name="connsiteX2" fmla="*/ 3876581 w 4219387"/>
                  <a:gd name="connsiteY2" fmla="*/ 809625 h 1495237"/>
                  <a:gd name="connsiteX3" fmla="*/ 4219387 w 4219387"/>
                  <a:gd name="connsiteY3" fmla="*/ 1152431 h 1495237"/>
                  <a:gd name="connsiteX4" fmla="*/ 3876581 w 4219387"/>
                  <a:gd name="connsiteY4" fmla="*/ 1495237 h 1495237"/>
                  <a:gd name="connsiteX5" fmla="*/ 3533775 w 4219387"/>
                  <a:gd name="connsiteY5" fmla="*/ 1152431 h 1495237"/>
                  <a:gd name="connsiteX6" fmla="*/ 3705178 w 4219387"/>
                  <a:gd name="connsiteY6" fmla="*/ 1152431 h 1495237"/>
                  <a:gd name="connsiteX7" fmla="*/ 3876581 w 4219387"/>
                  <a:gd name="connsiteY7" fmla="*/ 1323834 h 1495237"/>
                  <a:gd name="connsiteX8" fmla="*/ 4047984 w 4219387"/>
                  <a:gd name="connsiteY8" fmla="*/ 1152431 h 1495237"/>
                  <a:gd name="connsiteX9" fmla="*/ 3876581 w 4219387"/>
                  <a:gd name="connsiteY9" fmla="*/ 981028 h 1495237"/>
                  <a:gd name="connsiteX10" fmla="*/ 3705178 w 4219387"/>
                  <a:gd name="connsiteY10" fmla="*/ 1152431 h 1495237"/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5612" h="685612">
                    <a:moveTo>
                      <a:pt x="0" y="342806"/>
                    </a:moveTo>
                    <a:cubicBezTo>
                      <a:pt x="0" y="153479"/>
                      <a:pt x="153479" y="0"/>
                      <a:pt x="342806" y="0"/>
                    </a:cubicBezTo>
                    <a:cubicBezTo>
                      <a:pt x="532133" y="0"/>
                      <a:pt x="685612" y="153479"/>
                      <a:pt x="685612" y="342806"/>
                    </a:cubicBezTo>
                    <a:cubicBezTo>
                      <a:pt x="685612" y="532133"/>
                      <a:pt x="532133" y="685612"/>
                      <a:pt x="342806" y="685612"/>
                    </a:cubicBezTo>
                    <a:cubicBezTo>
                      <a:pt x="153479" y="685612"/>
                      <a:pt x="0" y="532133"/>
                      <a:pt x="0" y="342806"/>
                    </a:cubicBezTo>
                    <a:close/>
                    <a:moveTo>
                      <a:pt x="171403" y="342806"/>
                    </a:moveTo>
                    <a:cubicBezTo>
                      <a:pt x="171403" y="437469"/>
                      <a:pt x="248143" y="514209"/>
                      <a:pt x="342806" y="514209"/>
                    </a:cubicBezTo>
                    <a:cubicBezTo>
                      <a:pt x="437469" y="514209"/>
                      <a:pt x="514209" y="437469"/>
                      <a:pt x="514209" y="342806"/>
                    </a:cubicBezTo>
                    <a:cubicBezTo>
                      <a:pt x="514209" y="248143"/>
                      <a:pt x="437469" y="171403"/>
                      <a:pt x="342806" y="171403"/>
                    </a:cubicBezTo>
                    <a:cubicBezTo>
                      <a:pt x="248143" y="171403"/>
                      <a:pt x="171403" y="248143"/>
                      <a:pt x="171403" y="342806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圆: 空心 332">
                <a:extLst>
                  <a:ext uri="{FF2B5EF4-FFF2-40B4-BE49-F238E27FC236}">
                    <a16:creationId xmlns:a16="http://schemas.microsoft.com/office/drawing/2014/main" id="{EC526B00-9C0D-4EC6-AD9A-0F0383DC8636}"/>
                  </a:ext>
                </a:extLst>
              </p:cNvPr>
              <p:cNvSpPr/>
              <p:nvPr/>
            </p:nvSpPr>
            <p:spPr>
              <a:xfrm>
                <a:off x="3535846" y="760548"/>
                <a:ext cx="685612" cy="685612"/>
              </a:xfrm>
              <a:custGeom>
                <a:avLst/>
                <a:gdLst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  <a:gd name="connsiteX0" fmla="*/ 3533775 w 4219387"/>
                  <a:gd name="connsiteY0" fmla="*/ 1152431 h 1495237"/>
                  <a:gd name="connsiteX1" fmla="*/ 0 w 4219387"/>
                  <a:gd name="connsiteY1" fmla="*/ 0 h 1495237"/>
                  <a:gd name="connsiteX2" fmla="*/ 3876581 w 4219387"/>
                  <a:gd name="connsiteY2" fmla="*/ 809625 h 1495237"/>
                  <a:gd name="connsiteX3" fmla="*/ 4219387 w 4219387"/>
                  <a:gd name="connsiteY3" fmla="*/ 1152431 h 1495237"/>
                  <a:gd name="connsiteX4" fmla="*/ 3876581 w 4219387"/>
                  <a:gd name="connsiteY4" fmla="*/ 1495237 h 1495237"/>
                  <a:gd name="connsiteX5" fmla="*/ 3533775 w 4219387"/>
                  <a:gd name="connsiteY5" fmla="*/ 1152431 h 1495237"/>
                  <a:gd name="connsiteX6" fmla="*/ 3705178 w 4219387"/>
                  <a:gd name="connsiteY6" fmla="*/ 1152431 h 1495237"/>
                  <a:gd name="connsiteX7" fmla="*/ 3876581 w 4219387"/>
                  <a:gd name="connsiteY7" fmla="*/ 1323834 h 1495237"/>
                  <a:gd name="connsiteX8" fmla="*/ 4047984 w 4219387"/>
                  <a:gd name="connsiteY8" fmla="*/ 1152431 h 1495237"/>
                  <a:gd name="connsiteX9" fmla="*/ 3876581 w 4219387"/>
                  <a:gd name="connsiteY9" fmla="*/ 981028 h 1495237"/>
                  <a:gd name="connsiteX10" fmla="*/ 3705178 w 4219387"/>
                  <a:gd name="connsiteY10" fmla="*/ 1152431 h 1495237"/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5612" h="685612">
                    <a:moveTo>
                      <a:pt x="0" y="342806"/>
                    </a:moveTo>
                    <a:cubicBezTo>
                      <a:pt x="0" y="153479"/>
                      <a:pt x="153479" y="0"/>
                      <a:pt x="342806" y="0"/>
                    </a:cubicBezTo>
                    <a:cubicBezTo>
                      <a:pt x="532133" y="0"/>
                      <a:pt x="685612" y="153479"/>
                      <a:pt x="685612" y="342806"/>
                    </a:cubicBezTo>
                    <a:cubicBezTo>
                      <a:pt x="685612" y="532133"/>
                      <a:pt x="532133" y="685612"/>
                      <a:pt x="342806" y="685612"/>
                    </a:cubicBezTo>
                    <a:cubicBezTo>
                      <a:pt x="153479" y="685612"/>
                      <a:pt x="0" y="532133"/>
                      <a:pt x="0" y="342806"/>
                    </a:cubicBezTo>
                    <a:close/>
                    <a:moveTo>
                      <a:pt x="171403" y="342806"/>
                    </a:moveTo>
                    <a:cubicBezTo>
                      <a:pt x="171403" y="437469"/>
                      <a:pt x="248143" y="514209"/>
                      <a:pt x="342806" y="514209"/>
                    </a:cubicBezTo>
                    <a:cubicBezTo>
                      <a:pt x="437469" y="514209"/>
                      <a:pt x="514209" y="437469"/>
                      <a:pt x="514209" y="342806"/>
                    </a:cubicBezTo>
                    <a:cubicBezTo>
                      <a:pt x="514209" y="248143"/>
                      <a:pt x="437469" y="171403"/>
                      <a:pt x="342806" y="171403"/>
                    </a:cubicBezTo>
                    <a:cubicBezTo>
                      <a:pt x="248143" y="171403"/>
                      <a:pt x="171403" y="248143"/>
                      <a:pt x="171403" y="3428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圆: 空心 332">
                <a:extLst>
                  <a:ext uri="{FF2B5EF4-FFF2-40B4-BE49-F238E27FC236}">
                    <a16:creationId xmlns:a16="http://schemas.microsoft.com/office/drawing/2014/main" id="{91E49252-2306-4043-A3BA-DC3FF2CDC9D1}"/>
                  </a:ext>
                </a:extLst>
              </p:cNvPr>
              <p:cNvSpPr/>
              <p:nvPr/>
            </p:nvSpPr>
            <p:spPr>
              <a:xfrm>
                <a:off x="3537917" y="711472"/>
                <a:ext cx="685612" cy="685612"/>
              </a:xfrm>
              <a:custGeom>
                <a:avLst/>
                <a:gdLst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  <a:gd name="connsiteX0" fmla="*/ 3533775 w 4219387"/>
                  <a:gd name="connsiteY0" fmla="*/ 1152431 h 1495237"/>
                  <a:gd name="connsiteX1" fmla="*/ 0 w 4219387"/>
                  <a:gd name="connsiteY1" fmla="*/ 0 h 1495237"/>
                  <a:gd name="connsiteX2" fmla="*/ 3876581 w 4219387"/>
                  <a:gd name="connsiteY2" fmla="*/ 809625 h 1495237"/>
                  <a:gd name="connsiteX3" fmla="*/ 4219387 w 4219387"/>
                  <a:gd name="connsiteY3" fmla="*/ 1152431 h 1495237"/>
                  <a:gd name="connsiteX4" fmla="*/ 3876581 w 4219387"/>
                  <a:gd name="connsiteY4" fmla="*/ 1495237 h 1495237"/>
                  <a:gd name="connsiteX5" fmla="*/ 3533775 w 4219387"/>
                  <a:gd name="connsiteY5" fmla="*/ 1152431 h 1495237"/>
                  <a:gd name="connsiteX6" fmla="*/ 3705178 w 4219387"/>
                  <a:gd name="connsiteY6" fmla="*/ 1152431 h 1495237"/>
                  <a:gd name="connsiteX7" fmla="*/ 3876581 w 4219387"/>
                  <a:gd name="connsiteY7" fmla="*/ 1323834 h 1495237"/>
                  <a:gd name="connsiteX8" fmla="*/ 4047984 w 4219387"/>
                  <a:gd name="connsiteY8" fmla="*/ 1152431 h 1495237"/>
                  <a:gd name="connsiteX9" fmla="*/ 3876581 w 4219387"/>
                  <a:gd name="connsiteY9" fmla="*/ 981028 h 1495237"/>
                  <a:gd name="connsiteX10" fmla="*/ 3705178 w 4219387"/>
                  <a:gd name="connsiteY10" fmla="*/ 1152431 h 1495237"/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5612" h="685612">
                    <a:moveTo>
                      <a:pt x="0" y="342806"/>
                    </a:moveTo>
                    <a:cubicBezTo>
                      <a:pt x="0" y="153479"/>
                      <a:pt x="153479" y="0"/>
                      <a:pt x="342806" y="0"/>
                    </a:cubicBezTo>
                    <a:cubicBezTo>
                      <a:pt x="532133" y="0"/>
                      <a:pt x="685612" y="153479"/>
                      <a:pt x="685612" y="342806"/>
                    </a:cubicBezTo>
                    <a:cubicBezTo>
                      <a:pt x="685612" y="532133"/>
                      <a:pt x="532133" y="685612"/>
                      <a:pt x="342806" y="685612"/>
                    </a:cubicBezTo>
                    <a:cubicBezTo>
                      <a:pt x="153479" y="685612"/>
                      <a:pt x="0" y="532133"/>
                      <a:pt x="0" y="342806"/>
                    </a:cubicBezTo>
                    <a:close/>
                    <a:moveTo>
                      <a:pt x="171403" y="342806"/>
                    </a:moveTo>
                    <a:cubicBezTo>
                      <a:pt x="171403" y="437469"/>
                      <a:pt x="248143" y="514209"/>
                      <a:pt x="342806" y="514209"/>
                    </a:cubicBezTo>
                    <a:cubicBezTo>
                      <a:pt x="437469" y="514209"/>
                      <a:pt x="514209" y="437469"/>
                      <a:pt x="514209" y="342806"/>
                    </a:cubicBezTo>
                    <a:cubicBezTo>
                      <a:pt x="514209" y="248143"/>
                      <a:pt x="437469" y="171403"/>
                      <a:pt x="342806" y="171403"/>
                    </a:cubicBezTo>
                    <a:cubicBezTo>
                      <a:pt x="248143" y="171403"/>
                      <a:pt x="171403" y="248143"/>
                      <a:pt x="171403" y="3428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圆: 空心 332">
                <a:extLst>
                  <a:ext uri="{FF2B5EF4-FFF2-40B4-BE49-F238E27FC236}">
                    <a16:creationId xmlns:a16="http://schemas.microsoft.com/office/drawing/2014/main" id="{77D15C26-E2EA-4BC8-BD6F-77C35D40F6CB}"/>
                  </a:ext>
                </a:extLst>
              </p:cNvPr>
              <p:cNvSpPr/>
              <p:nvPr/>
            </p:nvSpPr>
            <p:spPr>
              <a:xfrm>
                <a:off x="3539988" y="662396"/>
                <a:ext cx="685612" cy="685612"/>
              </a:xfrm>
              <a:custGeom>
                <a:avLst/>
                <a:gdLst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  <a:gd name="connsiteX0" fmla="*/ 3533775 w 4219387"/>
                  <a:gd name="connsiteY0" fmla="*/ 1152431 h 1495237"/>
                  <a:gd name="connsiteX1" fmla="*/ 0 w 4219387"/>
                  <a:gd name="connsiteY1" fmla="*/ 0 h 1495237"/>
                  <a:gd name="connsiteX2" fmla="*/ 3876581 w 4219387"/>
                  <a:gd name="connsiteY2" fmla="*/ 809625 h 1495237"/>
                  <a:gd name="connsiteX3" fmla="*/ 4219387 w 4219387"/>
                  <a:gd name="connsiteY3" fmla="*/ 1152431 h 1495237"/>
                  <a:gd name="connsiteX4" fmla="*/ 3876581 w 4219387"/>
                  <a:gd name="connsiteY4" fmla="*/ 1495237 h 1495237"/>
                  <a:gd name="connsiteX5" fmla="*/ 3533775 w 4219387"/>
                  <a:gd name="connsiteY5" fmla="*/ 1152431 h 1495237"/>
                  <a:gd name="connsiteX6" fmla="*/ 3705178 w 4219387"/>
                  <a:gd name="connsiteY6" fmla="*/ 1152431 h 1495237"/>
                  <a:gd name="connsiteX7" fmla="*/ 3876581 w 4219387"/>
                  <a:gd name="connsiteY7" fmla="*/ 1323834 h 1495237"/>
                  <a:gd name="connsiteX8" fmla="*/ 4047984 w 4219387"/>
                  <a:gd name="connsiteY8" fmla="*/ 1152431 h 1495237"/>
                  <a:gd name="connsiteX9" fmla="*/ 3876581 w 4219387"/>
                  <a:gd name="connsiteY9" fmla="*/ 981028 h 1495237"/>
                  <a:gd name="connsiteX10" fmla="*/ 3705178 w 4219387"/>
                  <a:gd name="connsiteY10" fmla="*/ 1152431 h 1495237"/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5612" h="685612">
                    <a:moveTo>
                      <a:pt x="0" y="342806"/>
                    </a:moveTo>
                    <a:cubicBezTo>
                      <a:pt x="0" y="153479"/>
                      <a:pt x="153479" y="0"/>
                      <a:pt x="342806" y="0"/>
                    </a:cubicBezTo>
                    <a:cubicBezTo>
                      <a:pt x="532133" y="0"/>
                      <a:pt x="685612" y="153479"/>
                      <a:pt x="685612" y="342806"/>
                    </a:cubicBezTo>
                    <a:cubicBezTo>
                      <a:pt x="685612" y="532133"/>
                      <a:pt x="532133" y="685612"/>
                      <a:pt x="342806" y="685612"/>
                    </a:cubicBezTo>
                    <a:cubicBezTo>
                      <a:pt x="153479" y="685612"/>
                      <a:pt x="0" y="532133"/>
                      <a:pt x="0" y="342806"/>
                    </a:cubicBezTo>
                    <a:close/>
                    <a:moveTo>
                      <a:pt x="171403" y="342806"/>
                    </a:moveTo>
                    <a:cubicBezTo>
                      <a:pt x="171403" y="437469"/>
                      <a:pt x="248143" y="514209"/>
                      <a:pt x="342806" y="514209"/>
                    </a:cubicBezTo>
                    <a:cubicBezTo>
                      <a:pt x="437469" y="514209"/>
                      <a:pt x="514209" y="437469"/>
                      <a:pt x="514209" y="342806"/>
                    </a:cubicBezTo>
                    <a:cubicBezTo>
                      <a:pt x="514209" y="248143"/>
                      <a:pt x="437469" y="171403"/>
                      <a:pt x="342806" y="171403"/>
                    </a:cubicBezTo>
                    <a:cubicBezTo>
                      <a:pt x="248143" y="171403"/>
                      <a:pt x="171403" y="248143"/>
                      <a:pt x="171403" y="34280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圆: 空心 333">
                <a:extLst>
                  <a:ext uri="{FF2B5EF4-FFF2-40B4-BE49-F238E27FC236}">
                    <a16:creationId xmlns:a16="http://schemas.microsoft.com/office/drawing/2014/main" id="{29F1BF43-255E-442E-B0D5-6EECE92EB7C8}"/>
                  </a:ext>
                </a:extLst>
              </p:cNvPr>
              <p:cNvSpPr/>
              <p:nvPr/>
            </p:nvSpPr>
            <p:spPr>
              <a:xfrm>
                <a:off x="3542059" y="613319"/>
                <a:ext cx="685612" cy="685612"/>
              </a:xfrm>
              <a:custGeom>
                <a:avLst/>
                <a:gdLst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  <a:gd name="connsiteX0" fmla="*/ 3514707 w 4200319"/>
                  <a:gd name="connsiteY0" fmla="*/ 857733 h 1200539"/>
                  <a:gd name="connsiteX1" fmla="*/ 0 w 4200319"/>
                  <a:gd name="connsiteY1" fmla="*/ 0 h 1200539"/>
                  <a:gd name="connsiteX2" fmla="*/ 3857513 w 4200319"/>
                  <a:gd name="connsiteY2" fmla="*/ 514927 h 1200539"/>
                  <a:gd name="connsiteX3" fmla="*/ 4200319 w 4200319"/>
                  <a:gd name="connsiteY3" fmla="*/ 857733 h 1200539"/>
                  <a:gd name="connsiteX4" fmla="*/ 3857513 w 4200319"/>
                  <a:gd name="connsiteY4" fmla="*/ 1200539 h 1200539"/>
                  <a:gd name="connsiteX5" fmla="*/ 3514707 w 4200319"/>
                  <a:gd name="connsiteY5" fmla="*/ 857733 h 1200539"/>
                  <a:gd name="connsiteX6" fmla="*/ 3686110 w 4200319"/>
                  <a:gd name="connsiteY6" fmla="*/ 857733 h 1200539"/>
                  <a:gd name="connsiteX7" fmla="*/ 3857513 w 4200319"/>
                  <a:gd name="connsiteY7" fmla="*/ 1029136 h 1200539"/>
                  <a:gd name="connsiteX8" fmla="*/ 4028916 w 4200319"/>
                  <a:gd name="connsiteY8" fmla="*/ 857733 h 1200539"/>
                  <a:gd name="connsiteX9" fmla="*/ 3857513 w 4200319"/>
                  <a:gd name="connsiteY9" fmla="*/ 686330 h 1200539"/>
                  <a:gd name="connsiteX10" fmla="*/ 3686110 w 4200319"/>
                  <a:gd name="connsiteY10" fmla="*/ 857733 h 1200539"/>
                  <a:gd name="connsiteX0" fmla="*/ 0 w 685612"/>
                  <a:gd name="connsiteY0" fmla="*/ 342806 h 685612"/>
                  <a:gd name="connsiteX1" fmla="*/ 342806 w 685612"/>
                  <a:gd name="connsiteY1" fmla="*/ 0 h 685612"/>
                  <a:gd name="connsiteX2" fmla="*/ 685612 w 685612"/>
                  <a:gd name="connsiteY2" fmla="*/ 342806 h 685612"/>
                  <a:gd name="connsiteX3" fmla="*/ 342806 w 685612"/>
                  <a:gd name="connsiteY3" fmla="*/ 685612 h 685612"/>
                  <a:gd name="connsiteX4" fmla="*/ 0 w 685612"/>
                  <a:gd name="connsiteY4" fmla="*/ 342806 h 685612"/>
                  <a:gd name="connsiteX5" fmla="*/ 171403 w 685612"/>
                  <a:gd name="connsiteY5" fmla="*/ 342806 h 685612"/>
                  <a:gd name="connsiteX6" fmla="*/ 342806 w 685612"/>
                  <a:gd name="connsiteY6" fmla="*/ 514209 h 685612"/>
                  <a:gd name="connsiteX7" fmla="*/ 514209 w 685612"/>
                  <a:gd name="connsiteY7" fmla="*/ 342806 h 685612"/>
                  <a:gd name="connsiteX8" fmla="*/ 342806 w 685612"/>
                  <a:gd name="connsiteY8" fmla="*/ 171403 h 685612"/>
                  <a:gd name="connsiteX9" fmla="*/ 171403 w 685612"/>
                  <a:gd name="connsiteY9" fmla="*/ 342806 h 685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5612" h="685612">
                    <a:moveTo>
                      <a:pt x="0" y="342806"/>
                    </a:moveTo>
                    <a:cubicBezTo>
                      <a:pt x="0" y="153479"/>
                      <a:pt x="153479" y="0"/>
                      <a:pt x="342806" y="0"/>
                    </a:cubicBezTo>
                    <a:cubicBezTo>
                      <a:pt x="532133" y="0"/>
                      <a:pt x="685612" y="153479"/>
                      <a:pt x="685612" y="342806"/>
                    </a:cubicBezTo>
                    <a:cubicBezTo>
                      <a:pt x="685612" y="532133"/>
                      <a:pt x="532133" y="685612"/>
                      <a:pt x="342806" y="685612"/>
                    </a:cubicBezTo>
                    <a:cubicBezTo>
                      <a:pt x="153479" y="685612"/>
                      <a:pt x="0" y="532133"/>
                      <a:pt x="0" y="342806"/>
                    </a:cubicBezTo>
                    <a:close/>
                    <a:moveTo>
                      <a:pt x="171403" y="342806"/>
                    </a:moveTo>
                    <a:cubicBezTo>
                      <a:pt x="171403" y="437469"/>
                      <a:pt x="248143" y="514209"/>
                      <a:pt x="342806" y="514209"/>
                    </a:cubicBezTo>
                    <a:cubicBezTo>
                      <a:pt x="437469" y="514209"/>
                      <a:pt x="514209" y="437469"/>
                      <a:pt x="514209" y="342806"/>
                    </a:cubicBezTo>
                    <a:cubicBezTo>
                      <a:pt x="514209" y="248143"/>
                      <a:pt x="437469" y="171403"/>
                      <a:pt x="342806" y="171403"/>
                    </a:cubicBezTo>
                    <a:cubicBezTo>
                      <a:pt x="248143" y="171403"/>
                      <a:pt x="171403" y="248143"/>
                      <a:pt x="171403" y="342806"/>
                    </a:cubicBezTo>
                    <a:close/>
                  </a:path>
                </a:pathLst>
              </a:custGeom>
              <a:pattFill prst="pct80">
                <a:fgClr>
                  <a:schemeClr val="accent3"/>
                </a:fgClr>
                <a:bgClr>
                  <a:schemeClr val="bg1"/>
                </a:bgClr>
              </a:patt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C4A02ABA-DFB2-4365-8EA2-E2B504B867D7}"/>
                </a:ext>
              </a:extLst>
            </p:cNvPr>
            <p:cNvGrpSpPr/>
            <p:nvPr userDrawn="1"/>
          </p:nvGrpSpPr>
          <p:grpSpPr>
            <a:xfrm rot="16349281">
              <a:off x="10629265" y="5109678"/>
              <a:ext cx="461801" cy="356877"/>
              <a:chOff x="4638483" y="948851"/>
              <a:chExt cx="461801" cy="356877"/>
            </a:xfrm>
          </p:grpSpPr>
          <p:sp>
            <p:nvSpPr>
              <p:cNvPr id="38" name="等腰三角形 357">
                <a:extLst>
                  <a:ext uri="{FF2B5EF4-FFF2-40B4-BE49-F238E27FC236}">
                    <a16:creationId xmlns:a16="http://schemas.microsoft.com/office/drawing/2014/main" id="{645420DA-A6E7-4DDE-8D3D-332865FE355F}"/>
                  </a:ext>
                </a:extLst>
              </p:cNvPr>
              <p:cNvSpPr/>
              <p:nvPr/>
            </p:nvSpPr>
            <p:spPr>
              <a:xfrm>
                <a:off x="4638483" y="1028700"/>
                <a:ext cx="321352" cy="277028"/>
              </a:xfrm>
              <a:custGeom>
                <a:avLst/>
                <a:gdLst>
                  <a:gd name="connsiteX0" fmla="*/ 0 w 321352"/>
                  <a:gd name="connsiteY0" fmla="*/ 277028 h 277028"/>
                  <a:gd name="connsiteX1" fmla="*/ 160676 w 321352"/>
                  <a:gd name="connsiteY1" fmla="*/ 0 h 277028"/>
                  <a:gd name="connsiteX2" fmla="*/ 321352 w 321352"/>
                  <a:gd name="connsiteY2" fmla="*/ 277028 h 277028"/>
                  <a:gd name="connsiteX3" fmla="*/ 0 w 321352"/>
                  <a:gd name="connsiteY3" fmla="*/ 277028 h 277028"/>
                  <a:gd name="connsiteX0" fmla="*/ 4638483 w 4959835"/>
                  <a:gd name="connsiteY0" fmla="*/ 1305728 h 1305728"/>
                  <a:gd name="connsiteX1" fmla="*/ 0 w 4959835"/>
                  <a:gd name="connsiteY1" fmla="*/ 0 h 1305728"/>
                  <a:gd name="connsiteX2" fmla="*/ 4799159 w 4959835"/>
                  <a:gd name="connsiteY2" fmla="*/ 1028700 h 1305728"/>
                  <a:gd name="connsiteX3" fmla="*/ 4959835 w 4959835"/>
                  <a:gd name="connsiteY3" fmla="*/ 1305728 h 1305728"/>
                  <a:gd name="connsiteX4" fmla="*/ 4638483 w 4959835"/>
                  <a:gd name="connsiteY4" fmla="*/ 1305728 h 1305728"/>
                  <a:gd name="connsiteX0" fmla="*/ 0 w 321352"/>
                  <a:gd name="connsiteY0" fmla="*/ 277028 h 277028"/>
                  <a:gd name="connsiteX1" fmla="*/ 160676 w 321352"/>
                  <a:gd name="connsiteY1" fmla="*/ 0 h 277028"/>
                  <a:gd name="connsiteX2" fmla="*/ 321352 w 321352"/>
                  <a:gd name="connsiteY2" fmla="*/ 277028 h 277028"/>
                  <a:gd name="connsiteX3" fmla="*/ 0 w 321352"/>
                  <a:gd name="connsiteY3" fmla="*/ 277028 h 277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1352" h="277028">
                    <a:moveTo>
                      <a:pt x="0" y="277028"/>
                    </a:moveTo>
                    <a:lnTo>
                      <a:pt x="160676" y="0"/>
                    </a:lnTo>
                    <a:lnTo>
                      <a:pt x="321352" y="277028"/>
                    </a:lnTo>
                    <a:lnTo>
                      <a:pt x="0" y="277028"/>
                    </a:ln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3DB4494-A247-42FE-8FD8-BA03199EBAF8}"/>
                  </a:ext>
                </a:extLst>
              </p:cNvPr>
              <p:cNvSpPr/>
              <p:nvPr/>
            </p:nvSpPr>
            <p:spPr>
              <a:xfrm>
                <a:off x="4711768" y="988679"/>
                <a:ext cx="321352" cy="277028"/>
              </a:xfrm>
              <a:custGeom>
                <a:avLst/>
                <a:gdLst/>
                <a:ahLst/>
                <a:cxnLst/>
                <a:rect l="0" t="0" r="0" b="0"/>
                <a:pathLst>
                  <a:path w="321353" h="277028">
                    <a:moveTo>
                      <a:pt x="0" y="277027"/>
                    </a:moveTo>
                    <a:lnTo>
                      <a:pt x="160677" y="0"/>
                    </a:lnTo>
                    <a:lnTo>
                      <a:pt x="321352" y="277027"/>
                    </a:ln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等腰三角形 358">
                <a:extLst>
                  <a:ext uri="{FF2B5EF4-FFF2-40B4-BE49-F238E27FC236}">
                    <a16:creationId xmlns:a16="http://schemas.microsoft.com/office/drawing/2014/main" id="{7A06FFD5-0BE9-4768-837B-B6C8FA4C6608}"/>
                  </a:ext>
                </a:extLst>
              </p:cNvPr>
              <p:cNvSpPr/>
              <p:nvPr/>
            </p:nvSpPr>
            <p:spPr>
              <a:xfrm>
                <a:off x="4778932" y="948851"/>
                <a:ext cx="321352" cy="277028"/>
              </a:xfrm>
              <a:custGeom>
                <a:avLst/>
                <a:gdLst>
                  <a:gd name="connsiteX0" fmla="*/ 0 w 321352"/>
                  <a:gd name="connsiteY0" fmla="*/ 277028 h 277028"/>
                  <a:gd name="connsiteX1" fmla="*/ 160676 w 321352"/>
                  <a:gd name="connsiteY1" fmla="*/ 0 h 277028"/>
                  <a:gd name="connsiteX2" fmla="*/ 321352 w 321352"/>
                  <a:gd name="connsiteY2" fmla="*/ 277028 h 277028"/>
                  <a:gd name="connsiteX3" fmla="*/ 0 w 321352"/>
                  <a:gd name="connsiteY3" fmla="*/ 277028 h 277028"/>
                  <a:gd name="connsiteX0" fmla="*/ 4591076 w 4912428"/>
                  <a:gd name="connsiteY0" fmla="*/ 1141943 h 1141943"/>
                  <a:gd name="connsiteX1" fmla="*/ 0 w 4912428"/>
                  <a:gd name="connsiteY1" fmla="*/ 0 h 1141943"/>
                  <a:gd name="connsiteX2" fmla="*/ 4751752 w 4912428"/>
                  <a:gd name="connsiteY2" fmla="*/ 864915 h 1141943"/>
                  <a:gd name="connsiteX3" fmla="*/ 4912428 w 4912428"/>
                  <a:gd name="connsiteY3" fmla="*/ 1141943 h 1141943"/>
                  <a:gd name="connsiteX4" fmla="*/ 4591076 w 4912428"/>
                  <a:gd name="connsiteY4" fmla="*/ 1141943 h 1141943"/>
                  <a:gd name="connsiteX0" fmla="*/ 0 w 321352"/>
                  <a:gd name="connsiteY0" fmla="*/ 277028 h 277028"/>
                  <a:gd name="connsiteX1" fmla="*/ 160676 w 321352"/>
                  <a:gd name="connsiteY1" fmla="*/ 0 h 277028"/>
                  <a:gd name="connsiteX2" fmla="*/ 321352 w 321352"/>
                  <a:gd name="connsiteY2" fmla="*/ 277028 h 277028"/>
                  <a:gd name="connsiteX3" fmla="*/ 0 w 321352"/>
                  <a:gd name="connsiteY3" fmla="*/ 277028 h 277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1352" h="277028">
                    <a:moveTo>
                      <a:pt x="0" y="277028"/>
                    </a:moveTo>
                    <a:lnTo>
                      <a:pt x="160676" y="0"/>
                    </a:lnTo>
                    <a:lnTo>
                      <a:pt x="321352" y="277028"/>
                    </a:lnTo>
                    <a:lnTo>
                      <a:pt x="0" y="277028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grpSp>
          <p:nvGrpSpPr>
            <p:cNvPr id="41" name="组合 40">
              <a:extLst>
                <a:ext uri="{FF2B5EF4-FFF2-40B4-BE49-F238E27FC236}">
                  <a16:creationId xmlns:a16="http://schemas.microsoft.com/office/drawing/2014/main" id="{4B1394A6-8122-400B-8F62-23D8BA8B5807}"/>
                </a:ext>
              </a:extLst>
            </p:cNvPr>
            <p:cNvGrpSpPr/>
            <p:nvPr userDrawn="1"/>
          </p:nvGrpSpPr>
          <p:grpSpPr>
            <a:xfrm rot="2458130">
              <a:off x="9379081" y="1280860"/>
              <a:ext cx="682166" cy="603819"/>
              <a:chOff x="3371993" y="891418"/>
              <a:chExt cx="761793" cy="674301"/>
            </a:xfrm>
          </p:grpSpPr>
          <p:sp>
            <p:nvSpPr>
              <p:cNvPr id="42" name="六边形 400">
                <a:extLst>
                  <a:ext uri="{FF2B5EF4-FFF2-40B4-BE49-F238E27FC236}">
                    <a16:creationId xmlns:a16="http://schemas.microsoft.com/office/drawing/2014/main" id="{EC8FAE09-E19A-4389-92FB-8F07A5D85531}"/>
                  </a:ext>
                </a:extLst>
              </p:cNvPr>
              <p:cNvSpPr/>
              <p:nvPr/>
            </p:nvSpPr>
            <p:spPr>
              <a:xfrm>
                <a:off x="3510844" y="1028700"/>
                <a:ext cx="622942" cy="537019"/>
              </a:xfrm>
              <a:custGeom>
                <a:avLst/>
                <a:gdLst>
                  <a:gd name="connsiteX0" fmla="*/ 0 w 622942"/>
                  <a:gd name="connsiteY0" fmla="*/ 268510 h 537019"/>
                  <a:gd name="connsiteX1" fmla="*/ 134255 w 622942"/>
                  <a:gd name="connsiteY1" fmla="*/ 0 h 537019"/>
                  <a:gd name="connsiteX2" fmla="*/ 488687 w 622942"/>
                  <a:gd name="connsiteY2" fmla="*/ 0 h 537019"/>
                  <a:gd name="connsiteX3" fmla="*/ 622942 w 622942"/>
                  <a:gd name="connsiteY3" fmla="*/ 268510 h 537019"/>
                  <a:gd name="connsiteX4" fmla="*/ 488687 w 622942"/>
                  <a:gd name="connsiteY4" fmla="*/ 537019 h 537019"/>
                  <a:gd name="connsiteX5" fmla="*/ 134255 w 622942"/>
                  <a:gd name="connsiteY5" fmla="*/ 537019 h 537019"/>
                  <a:gd name="connsiteX6" fmla="*/ 0 w 622942"/>
                  <a:gd name="connsiteY6" fmla="*/ 268510 h 537019"/>
                  <a:gd name="connsiteX0" fmla="*/ 3510844 w 4133786"/>
                  <a:gd name="connsiteY0" fmla="*/ 1297210 h 1565719"/>
                  <a:gd name="connsiteX1" fmla="*/ 0 w 4133786"/>
                  <a:gd name="connsiteY1" fmla="*/ 0 h 1565719"/>
                  <a:gd name="connsiteX2" fmla="*/ 3645099 w 4133786"/>
                  <a:gd name="connsiteY2" fmla="*/ 1028700 h 1565719"/>
                  <a:gd name="connsiteX3" fmla="*/ 3999531 w 4133786"/>
                  <a:gd name="connsiteY3" fmla="*/ 1028700 h 1565719"/>
                  <a:gd name="connsiteX4" fmla="*/ 4133786 w 4133786"/>
                  <a:gd name="connsiteY4" fmla="*/ 1297210 h 1565719"/>
                  <a:gd name="connsiteX5" fmla="*/ 3999531 w 4133786"/>
                  <a:gd name="connsiteY5" fmla="*/ 1565719 h 1565719"/>
                  <a:gd name="connsiteX6" fmla="*/ 3645099 w 4133786"/>
                  <a:gd name="connsiteY6" fmla="*/ 1565719 h 1565719"/>
                  <a:gd name="connsiteX7" fmla="*/ 3510844 w 4133786"/>
                  <a:gd name="connsiteY7" fmla="*/ 1297210 h 1565719"/>
                  <a:gd name="connsiteX0" fmla="*/ 0 w 622942"/>
                  <a:gd name="connsiteY0" fmla="*/ 268510 h 537019"/>
                  <a:gd name="connsiteX1" fmla="*/ 134255 w 622942"/>
                  <a:gd name="connsiteY1" fmla="*/ 0 h 537019"/>
                  <a:gd name="connsiteX2" fmla="*/ 488687 w 622942"/>
                  <a:gd name="connsiteY2" fmla="*/ 0 h 537019"/>
                  <a:gd name="connsiteX3" fmla="*/ 622942 w 622942"/>
                  <a:gd name="connsiteY3" fmla="*/ 268510 h 537019"/>
                  <a:gd name="connsiteX4" fmla="*/ 488687 w 622942"/>
                  <a:gd name="connsiteY4" fmla="*/ 537019 h 537019"/>
                  <a:gd name="connsiteX5" fmla="*/ 134255 w 622942"/>
                  <a:gd name="connsiteY5" fmla="*/ 537019 h 537019"/>
                  <a:gd name="connsiteX6" fmla="*/ 0 w 622942"/>
                  <a:gd name="connsiteY6" fmla="*/ 268510 h 537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2942" h="537019">
                    <a:moveTo>
                      <a:pt x="0" y="268510"/>
                    </a:moveTo>
                    <a:lnTo>
                      <a:pt x="134255" y="0"/>
                    </a:lnTo>
                    <a:lnTo>
                      <a:pt x="488687" y="0"/>
                    </a:lnTo>
                    <a:lnTo>
                      <a:pt x="622942" y="268510"/>
                    </a:lnTo>
                    <a:lnTo>
                      <a:pt x="488687" y="537019"/>
                    </a:lnTo>
                    <a:lnTo>
                      <a:pt x="134255" y="537019"/>
                    </a:lnTo>
                    <a:lnTo>
                      <a:pt x="0" y="268510"/>
                    </a:ln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AAA16FF9-678E-4AB4-81C5-A885032EBFDC}"/>
                  </a:ext>
                </a:extLst>
              </p:cNvPr>
              <p:cNvSpPr/>
              <p:nvPr/>
            </p:nvSpPr>
            <p:spPr>
              <a:xfrm>
                <a:off x="3464560" y="982940"/>
                <a:ext cx="622942" cy="537019"/>
              </a:xfrm>
              <a:custGeom>
                <a:avLst/>
                <a:gdLst/>
                <a:ahLst/>
                <a:cxnLst/>
                <a:rect l="0" t="0" r="0" b="0"/>
                <a:pathLst>
                  <a:path w="622943" h="537020">
                    <a:moveTo>
                      <a:pt x="0" y="268510"/>
                    </a:moveTo>
                    <a:lnTo>
                      <a:pt x="134255" y="0"/>
                    </a:lnTo>
                    <a:lnTo>
                      <a:pt x="488687" y="0"/>
                    </a:lnTo>
                    <a:lnTo>
                      <a:pt x="622942" y="268510"/>
                    </a:lnTo>
                    <a:lnTo>
                      <a:pt x="488687" y="537019"/>
                    </a:lnTo>
                    <a:lnTo>
                      <a:pt x="134255" y="537019"/>
                    </a:ln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52630762-25B7-441B-8819-D369458A1A83}"/>
                  </a:ext>
                </a:extLst>
              </p:cNvPr>
              <p:cNvSpPr/>
              <p:nvPr/>
            </p:nvSpPr>
            <p:spPr>
              <a:xfrm>
                <a:off x="3418277" y="937180"/>
                <a:ext cx="622942" cy="537019"/>
              </a:xfrm>
              <a:custGeom>
                <a:avLst/>
                <a:gdLst/>
                <a:ahLst/>
                <a:cxnLst/>
                <a:rect l="0" t="0" r="0" b="0"/>
                <a:pathLst>
                  <a:path w="622942" h="537020">
                    <a:moveTo>
                      <a:pt x="0" y="268510"/>
                    </a:moveTo>
                    <a:lnTo>
                      <a:pt x="134255" y="0"/>
                    </a:lnTo>
                    <a:lnTo>
                      <a:pt x="488686" y="0"/>
                    </a:lnTo>
                    <a:lnTo>
                      <a:pt x="622941" y="268510"/>
                    </a:lnTo>
                    <a:lnTo>
                      <a:pt x="488686" y="537019"/>
                    </a:lnTo>
                    <a:lnTo>
                      <a:pt x="134255" y="537019"/>
                    </a:ln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六边形 401">
                <a:extLst>
                  <a:ext uri="{FF2B5EF4-FFF2-40B4-BE49-F238E27FC236}">
                    <a16:creationId xmlns:a16="http://schemas.microsoft.com/office/drawing/2014/main" id="{6308A662-8125-436D-B58D-0FD54F57DD11}"/>
                  </a:ext>
                </a:extLst>
              </p:cNvPr>
              <p:cNvSpPr/>
              <p:nvPr/>
            </p:nvSpPr>
            <p:spPr>
              <a:xfrm>
                <a:off x="3371993" y="891418"/>
                <a:ext cx="622942" cy="537019"/>
              </a:xfrm>
              <a:custGeom>
                <a:avLst/>
                <a:gdLst>
                  <a:gd name="connsiteX0" fmla="*/ 0 w 622942"/>
                  <a:gd name="connsiteY0" fmla="*/ 268510 h 537019"/>
                  <a:gd name="connsiteX1" fmla="*/ 134255 w 622942"/>
                  <a:gd name="connsiteY1" fmla="*/ 0 h 537019"/>
                  <a:gd name="connsiteX2" fmla="*/ 488687 w 622942"/>
                  <a:gd name="connsiteY2" fmla="*/ 0 h 537019"/>
                  <a:gd name="connsiteX3" fmla="*/ 622942 w 622942"/>
                  <a:gd name="connsiteY3" fmla="*/ 268510 h 537019"/>
                  <a:gd name="connsiteX4" fmla="*/ 488687 w 622942"/>
                  <a:gd name="connsiteY4" fmla="*/ 537019 h 537019"/>
                  <a:gd name="connsiteX5" fmla="*/ 134255 w 622942"/>
                  <a:gd name="connsiteY5" fmla="*/ 537019 h 537019"/>
                  <a:gd name="connsiteX6" fmla="*/ 0 w 622942"/>
                  <a:gd name="connsiteY6" fmla="*/ 268510 h 537019"/>
                  <a:gd name="connsiteX0" fmla="*/ 3371993 w 3994935"/>
                  <a:gd name="connsiteY0" fmla="*/ 1159928 h 1428437"/>
                  <a:gd name="connsiteX1" fmla="*/ 0 w 3994935"/>
                  <a:gd name="connsiteY1" fmla="*/ 0 h 1428437"/>
                  <a:gd name="connsiteX2" fmla="*/ 3506248 w 3994935"/>
                  <a:gd name="connsiteY2" fmla="*/ 891418 h 1428437"/>
                  <a:gd name="connsiteX3" fmla="*/ 3860680 w 3994935"/>
                  <a:gd name="connsiteY3" fmla="*/ 891418 h 1428437"/>
                  <a:gd name="connsiteX4" fmla="*/ 3994935 w 3994935"/>
                  <a:gd name="connsiteY4" fmla="*/ 1159928 h 1428437"/>
                  <a:gd name="connsiteX5" fmla="*/ 3860680 w 3994935"/>
                  <a:gd name="connsiteY5" fmla="*/ 1428437 h 1428437"/>
                  <a:gd name="connsiteX6" fmla="*/ 3506248 w 3994935"/>
                  <a:gd name="connsiteY6" fmla="*/ 1428437 h 1428437"/>
                  <a:gd name="connsiteX7" fmla="*/ 3371993 w 3994935"/>
                  <a:gd name="connsiteY7" fmla="*/ 1159928 h 1428437"/>
                  <a:gd name="connsiteX0" fmla="*/ 0 w 622942"/>
                  <a:gd name="connsiteY0" fmla="*/ 268510 h 537019"/>
                  <a:gd name="connsiteX1" fmla="*/ 134255 w 622942"/>
                  <a:gd name="connsiteY1" fmla="*/ 0 h 537019"/>
                  <a:gd name="connsiteX2" fmla="*/ 488687 w 622942"/>
                  <a:gd name="connsiteY2" fmla="*/ 0 h 537019"/>
                  <a:gd name="connsiteX3" fmla="*/ 622942 w 622942"/>
                  <a:gd name="connsiteY3" fmla="*/ 268510 h 537019"/>
                  <a:gd name="connsiteX4" fmla="*/ 488687 w 622942"/>
                  <a:gd name="connsiteY4" fmla="*/ 537019 h 537019"/>
                  <a:gd name="connsiteX5" fmla="*/ 134255 w 622942"/>
                  <a:gd name="connsiteY5" fmla="*/ 537019 h 537019"/>
                  <a:gd name="connsiteX6" fmla="*/ 0 w 622942"/>
                  <a:gd name="connsiteY6" fmla="*/ 268510 h 537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2942" h="537019">
                    <a:moveTo>
                      <a:pt x="0" y="268510"/>
                    </a:moveTo>
                    <a:lnTo>
                      <a:pt x="134255" y="0"/>
                    </a:lnTo>
                    <a:lnTo>
                      <a:pt x="488687" y="0"/>
                    </a:lnTo>
                    <a:lnTo>
                      <a:pt x="622942" y="268510"/>
                    </a:lnTo>
                    <a:lnTo>
                      <a:pt x="488687" y="537019"/>
                    </a:lnTo>
                    <a:lnTo>
                      <a:pt x="134255" y="537019"/>
                    </a:lnTo>
                    <a:lnTo>
                      <a:pt x="0" y="268510"/>
                    </a:lnTo>
                    <a:close/>
                  </a:path>
                </a:pathLst>
              </a:custGeom>
              <a:pattFill prst="pct80">
                <a:fgClr>
                  <a:schemeClr val="accent2"/>
                </a:fgClr>
                <a:bgClr>
                  <a:schemeClr val="bg1"/>
                </a:bgClr>
              </a:patt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6" name="组合 45">
              <a:extLst>
                <a:ext uri="{FF2B5EF4-FFF2-40B4-BE49-F238E27FC236}">
                  <a16:creationId xmlns:a16="http://schemas.microsoft.com/office/drawing/2014/main" id="{680CFDC9-B30F-4EBE-AB8B-3087F82D33BF}"/>
                </a:ext>
              </a:extLst>
            </p:cNvPr>
            <p:cNvGrpSpPr/>
            <p:nvPr userDrawn="1"/>
          </p:nvGrpSpPr>
          <p:grpSpPr>
            <a:xfrm rot="3080039">
              <a:off x="8570361" y="3097697"/>
              <a:ext cx="568515" cy="559723"/>
              <a:chOff x="4900061" y="836930"/>
              <a:chExt cx="671623" cy="661236"/>
            </a:xfrm>
          </p:grpSpPr>
          <p:sp>
            <p:nvSpPr>
              <p:cNvPr id="47" name="矩形 407">
                <a:extLst>
                  <a:ext uri="{FF2B5EF4-FFF2-40B4-BE49-F238E27FC236}">
                    <a16:creationId xmlns:a16="http://schemas.microsoft.com/office/drawing/2014/main" id="{29A5058A-EB80-4341-B032-04CE215B961F}"/>
                  </a:ext>
                </a:extLst>
              </p:cNvPr>
              <p:cNvSpPr/>
              <p:nvPr/>
            </p:nvSpPr>
            <p:spPr>
              <a:xfrm>
                <a:off x="5090797" y="1017279"/>
                <a:ext cx="480887" cy="480887"/>
              </a:xfrm>
              <a:custGeom>
                <a:avLst/>
                <a:gdLst>
                  <a:gd name="connsiteX0" fmla="*/ 0 w 480887"/>
                  <a:gd name="connsiteY0" fmla="*/ 0 h 480887"/>
                  <a:gd name="connsiteX1" fmla="*/ 480887 w 480887"/>
                  <a:gd name="connsiteY1" fmla="*/ 0 h 480887"/>
                  <a:gd name="connsiteX2" fmla="*/ 480887 w 480887"/>
                  <a:gd name="connsiteY2" fmla="*/ 480887 h 480887"/>
                  <a:gd name="connsiteX3" fmla="*/ 0 w 480887"/>
                  <a:gd name="connsiteY3" fmla="*/ 480887 h 480887"/>
                  <a:gd name="connsiteX4" fmla="*/ 0 w 480887"/>
                  <a:gd name="connsiteY4" fmla="*/ 0 h 480887"/>
                  <a:gd name="connsiteX0" fmla="*/ 5090797 w 5571684"/>
                  <a:gd name="connsiteY0" fmla="*/ 1017279 h 1498166"/>
                  <a:gd name="connsiteX1" fmla="*/ 0 w 5571684"/>
                  <a:gd name="connsiteY1" fmla="*/ 0 h 1498166"/>
                  <a:gd name="connsiteX2" fmla="*/ 5571684 w 5571684"/>
                  <a:gd name="connsiteY2" fmla="*/ 1017279 h 1498166"/>
                  <a:gd name="connsiteX3" fmla="*/ 5571684 w 5571684"/>
                  <a:gd name="connsiteY3" fmla="*/ 1498166 h 1498166"/>
                  <a:gd name="connsiteX4" fmla="*/ 5090797 w 5571684"/>
                  <a:gd name="connsiteY4" fmla="*/ 1498166 h 1498166"/>
                  <a:gd name="connsiteX5" fmla="*/ 5090797 w 5571684"/>
                  <a:gd name="connsiteY5" fmla="*/ 1017279 h 1498166"/>
                  <a:gd name="connsiteX0" fmla="*/ 0 w 480887"/>
                  <a:gd name="connsiteY0" fmla="*/ 0 h 480887"/>
                  <a:gd name="connsiteX1" fmla="*/ 480887 w 480887"/>
                  <a:gd name="connsiteY1" fmla="*/ 0 h 480887"/>
                  <a:gd name="connsiteX2" fmla="*/ 480887 w 480887"/>
                  <a:gd name="connsiteY2" fmla="*/ 480887 h 480887"/>
                  <a:gd name="connsiteX3" fmla="*/ 0 w 480887"/>
                  <a:gd name="connsiteY3" fmla="*/ 480887 h 480887"/>
                  <a:gd name="connsiteX4" fmla="*/ 0 w 480887"/>
                  <a:gd name="connsiteY4" fmla="*/ 0 h 480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887" h="480887">
                    <a:moveTo>
                      <a:pt x="0" y="0"/>
                    </a:moveTo>
                    <a:lnTo>
                      <a:pt x="480887" y="0"/>
                    </a:lnTo>
                    <a:lnTo>
                      <a:pt x="480887" y="480887"/>
                    </a:lnTo>
                    <a:lnTo>
                      <a:pt x="0" y="48088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9B09A88C-4C48-4234-845C-92C5BFA8D2C6}"/>
                  </a:ext>
                </a:extLst>
              </p:cNvPr>
              <p:cNvSpPr/>
              <p:nvPr/>
            </p:nvSpPr>
            <p:spPr>
              <a:xfrm>
                <a:off x="5027219" y="957164"/>
                <a:ext cx="480887" cy="480887"/>
              </a:xfrm>
              <a:custGeom>
                <a:avLst/>
                <a:gdLst/>
                <a:ahLst/>
                <a:cxnLst/>
                <a:rect l="0" t="0" r="0" b="0"/>
                <a:pathLst>
                  <a:path w="480888" h="480888">
                    <a:moveTo>
                      <a:pt x="0" y="0"/>
                    </a:moveTo>
                    <a:lnTo>
                      <a:pt x="480887" y="0"/>
                    </a:lnTo>
                    <a:lnTo>
                      <a:pt x="480887" y="480887"/>
                    </a:lnTo>
                    <a:lnTo>
                      <a:pt x="0" y="480887"/>
                    </a:ln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BC41BC55-1957-46BC-80E1-74806A1E6851}"/>
                  </a:ext>
                </a:extLst>
              </p:cNvPr>
              <p:cNvSpPr/>
              <p:nvPr/>
            </p:nvSpPr>
            <p:spPr>
              <a:xfrm>
                <a:off x="4963641" y="897047"/>
                <a:ext cx="480887" cy="480887"/>
              </a:xfrm>
              <a:custGeom>
                <a:avLst/>
                <a:gdLst/>
                <a:ahLst/>
                <a:cxnLst/>
                <a:rect l="0" t="0" r="0" b="0"/>
                <a:pathLst>
                  <a:path w="480888" h="480888">
                    <a:moveTo>
                      <a:pt x="0" y="0"/>
                    </a:moveTo>
                    <a:lnTo>
                      <a:pt x="480887" y="0"/>
                    </a:lnTo>
                    <a:lnTo>
                      <a:pt x="480887" y="480887"/>
                    </a:lnTo>
                    <a:lnTo>
                      <a:pt x="0" y="480887"/>
                    </a:lnTo>
                    <a:close/>
                  </a:path>
                </a:pathLst>
              </a:custGeom>
              <a:solidFill>
                <a:srgbClr val="FFFFFF"/>
              </a:solidFill>
              <a:ln w="2540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矩形 408">
                <a:extLst>
                  <a:ext uri="{FF2B5EF4-FFF2-40B4-BE49-F238E27FC236}">
                    <a16:creationId xmlns:a16="http://schemas.microsoft.com/office/drawing/2014/main" id="{A555D431-3B10-4F4B-92BC-92C90FB016A8}"/>
                  </a:ext>
                </a:extLst>
              </p:cNvPr>
              <p:cNvSpPr/>
              <p:nvPr/>
            </p:nvSpPr>
            <p:spPr>
              <a:xfrm>
                <a:off x="4900061" y="836930"/>
                <a:ext cx="480887" cy="480887"/>
              </a:xfrm>
              <a:custGeom>
                <a:avLst/>
                <a:gdLst>
                  <a:gd name="connsiteX0" fmla="*/ 0 w 480887"/>
                  <a:gd name="connsiteY0" fmla="*/ 0 h 480887"/>
                  <a:gd name="connsiteX1" fmla="*/ 480887 w 480887"/>
                  <a:gd name="connsiteY1" fmla="*/ 0 h 480887"/>
                  <a:gd name="connsiteX2" fmla="*/ 480887 w 480887"/>
                  <a:gd name="connsiteY2" fmla="*/ 480887 h 480887"/>
                  <a:gd name="connsiteX3" fmla="*/ 0 w 480887"/>
                  <a:gd name="connsiteY3" fmla="*/ 480887 h 480887"/>
                  <a:gd name="connsiteX4" fmla="*/ 0 w 480887"/>
                  <a:gd name="connsiteY4" fmla="*/ 0 h 480887"/>
                  <a:gd name="connsiteX0" fmla="*/ 4900061 w 5380948"/>
                  <a:gd name="connsiteY0" fmla="*/ 836930 h 1317817"/>
                  <a:gd name="connsiteX1" fmla="*/ 0 w 5380948"/>
                  <a:gd name="connsiteY1" fmla="*/ 0 h 1317817"/>
                  <a:gd name="connsiteX2" fmla="*/ 5380948 w 5380948"/>
                  <a:gd name="connsiteY2" fmla="*/ 836930 h 1317817"/>
                  <a:gd name="connsiteX3" fmla="*/ 5380948 w 5380948"/>
                  <a:gd name="connsiteY3" fmla="*/ 1317817 h 1317817"/>
                  <a:gd name="connsiteX4" fmla="*/ 4900061 w 5380948"/>
                  <a:gd name="connsiteY4" fmla="*/ 1317817 h 1317817"/>
                  <a:gd name="connsiteX5" fmla="*/ 4900061 w 5380948"/>
                  <a:gd name="connsiteY5" fmla="*/ 836930 h 1317817"/>
                  <a:gd name="connsiteX0" fmla="*/ 0 w 480887"/>
                  <a:gd name="connsiteY0" fmla="*/ 0 h 480887"/>
                  <a:gd name="connsiteX1" fmla="*/ 480887 w 480887"/>
                  <a:gd name="connsiteY1" fmla="*/ 0 h 480887"/>
                  <a:gd name="connsiteX2" fmla="*/ 480887 w 480887"/>
                  <a:gd name="connsiteY2" fmla="*/ 480887 h 480887"/>
                  <a:gd name="connsiteX3" fmla="*/ 0 w 480887"/>
                  <a:gd name="connsiteY3" fmla="*/ 480887 h 480887"/>
                  <a:gd name="connsiteX4" fmla="*/ 0 w 480887"/>
                  <a:gd name="connsiteY4" fmla="*/ 0 h 480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0887" h="480887">
                    <a:moveTo>
                      <a:pt x="0" y="0"/>
                    </a:moveTo>
                    <a:lnTo>
                      <a:pt x="480887" y="0"/>
                    </a:lnTo>
                    <a:lnTo>
                      <a:pt x="480887" y="480887"/>
                    </a:lnTo>
                    <a:lnTo>
                      <a:pt x="0" y="48088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63AB1241-E66C-4CC4-A6CE-E8C89956C5F7}"/>
                </a:ext>
              </a:extLst>
            </p:cNvPr>
            <p:cNvGrpSpPr/>
            <p:nvPr userDrawn="1"/>
          </p:nvGrpSpPr>
          <p:grpSpPr>
            <a:xfrm rot="559084">
              <a:off x="6219572" y="4101847"/>
              <a:ext cx="743713" cy="1078629"/>
              <a:chOff x="4800735" y="5930549"/>
              <a:chExt cx="1677988" cy="2433637"/>
            </a:xfrm>
          </p:grpSpPr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7F9BABEE-8CAC-436E-B43C-00CC7B2AC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6935" y="7624411"/>
                <a:ext cx="404813" cy="739775"/>
              </a:xfrm>
              <a:custGeom>
                <a:avLst/>
                <a:gdLst>
                  <a:gd name="T0" fmla="*/ 14 w 122"/>
                  <a:gd name="T1" fmla="*/ 222 h 224"/>
                  <a:gd name="T2" fmla="*/ 31 w 122"/>
                  <a:gd name="T3" fmla="*/ 183 h 224"/>
                  <a:gd name="T4" fmla="*/ 59 w 122"/>
                  <a:gd name="T5" fmla="*/ 91 h 224"/>
                  <a:gd name="T6" fmla="*/ 122 w 122"/>
                  <a:gd name="T7" fmla="*/ 29 h 224"/>
                  <a:gd name="T8" fmla="*/ 100 w 122"/>
                  <a:gd name="T9" fmla="*/ 5 h 224"/>
                  <a:gd name="T10" fmla="*/ 24 w 122"/>
                  <a:gd name="T11" fmla="*/ 91 h 224"/>
                  <a:gd name="T12" fmla="*/ 10 w 122"/>
                  <a:gd name="T13" fmla="*/ 185 h 224"/>
                  <a:gd name="T14" fmla="*/ 14 w 122"/>
                  <a:gd name="T15" fmla="*/ 22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2" h="224">
                    <a:moveTo>
                      <a:pt x="14" y="222"/>
                    </a:moveTo>
                    <a:cubicBezTo>
                      <a:pt x="28" y="224"/>
                      <a:pt x="27" y="198"/>
                      <a:pt x="31" y="183"/>
                    </a:cubicBezTo>
                    <a:cubicBezTo>
                      <a:pt x="33" y="177"/>
                      <a:pt x="56" y="93"/>
                      <a:pt x="59" y="91"/>
                    </a:cubicBezTo>
                    <a:cubicBezTo>
                      <a:pt x="75" y="79"/>
                      <a:pt x="122" y="29"/>
                      <a:pt x="122" y="29"/>
                    </a:cubicBezTo>
                    <a:cubicBezTo>
                      <a:pt x="122" y="29"/>
                      <a:pt x="110" y="0"/>
                      <a:pt x="100" y="5"/>
                    </a:cubicBezTo>
                    <a:cubicBezTo>
                      <a:pt x="90" y="10"/>
                      <a:pt x="34" y="56"/>
                      <a:pt x="24" y="91"/>
                    </a:cubicBezTo>
                    <a:cubicBezTo>
                      <a:pt x="13" y="125"/>
                      <a:pt x="7" y="180"/>
                      <a:pt x="10" y="185"/>
                    </a:cubicBezTo>
                    <a:cubicBezTo>
                      <a:pt x="13" y="190"/>
                      <a:pt x="0" y="219"/>
                      <a:pt x="14" y="222"/>
                    </a:cubicBezTo>
                    <a:close/>
                  </a:path>
                </a:pathLst>
              </a:custGeom>
              <a:solidFill>
                <a:srgbClr val="E6E7E8"/>
              </a:solidFill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F8367DE2-56E9-467B-960F-23B164E39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7022" y="5930549"/>
                <a:ext cx="858838" cy="1085850"/>
              </a:xfrm>
              <a:custGeom>
                <a:avLst/>
                <a:gdLst>
                  <a:gd name="T0" fmla="*/ 259 w 259"/>
                  <a:gd name="T1" fmla="*/ 22 h 329"/>
                  <a:gd name="T2" fmla="*/ 210 w 259"/>
                  <a:gd name="T3" fmla="*/ 53 h 329"/>
                  <a:gd name="T4" fmla="*/ 148 w 259"/>
                  <a:gd name="T5" fmla="*/ 202 h 329"/>
                  <a:gd name="T6" fmla="*/ 22 w 259"/>
                  <a:gd name="T7" fmla="*/ 318 h 329"/>
                  <a:gd name="T8" fmla="*/ 53 w 259"/>
                  <a:gd name="T9" fmla="*/ 329 h 329"/>
                  <a:gd name="T10" fmla="*/ 152 w 259"/>
                  <a:gd name="T11" fmla="*/ 246 h 329"/>
                  <a:gd name="T12" fmla="*/ 201 w 259"/>
                  <a:gd name="T13" fmla="*/ 156 h 329"/>
                  <a:gd name="T14" fmla="*/ 235 w 259"/>
                  <a:gd name="T15" fmla="*/ 52 h 329"/>
                  <a:gd name="T16" fmla="*/ 259 w 259"/>
                  <a:gd name="T17" fmla="*/ 22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9" h="329">
                    <a:moveTo>
                      <a:pt x="259" y="22"/>
                    </a:moveTo>
                    <a:cubicBezTo>
                      <a:pt x="259" y="22"/>
                      <a:pt x="229" y="0"/>
                      <a:pt x="210" y="53"/>
                    </a:cubicBezTo>
                    <a:cubicBezTo>
                      <a:pt x="191" y="105"/>
                      <a:pt x="166" y="187"/>
                      <a:pt x="148" y="202"/>
                    </a:cubicBezTo>
                    <a:cubicBezTo>
                      <a:pt x="131" y="218"/>
                      <a:pt x="44" y="309"/>
                      <a:pt x="22" y="318"/>
                    </a:cubicBezTo>
                    <a:cubicBezTo>
                      <a:pt x="0" y="327"/>
                      <a:pt x="53" y="329"/>
                      <a:pt x="53" y="329"/>
                    </a:cubicBezTo>
                    <a:cubicBezTo>
                      <a:pt x="53" y="329"/>
                      <a:pt x="135" y="265"/>
                      <a:pt x="152" y="246"/>
                    </a:cubicBezTo>
                    <a:cubicBezTo>
                      <a:pt x="169" y="227"/>
                      <a:pt x="188" y="175"/>
                      <a:pt x="201" y="156"/>
                    </a:cubicBezTo>
                    <a:cubicBezTo>
                      <a:pt x="214" y="137"/>
                      <a:pt x="228" y="58"/>
                      <a:pt x="235" y="52"/>
                    </a:cubicBezTo>
                    <a:cubicBezTo>
                      <a:pt x="242" y="47"/>
                      <a:pt x="259" y="22"/>
                      <a:pt x="259" y="22"/>
                    </a:cubicBezTo>
                    <a:close/>
                  </a:path>
                </a:pathLst>
              </a:custGeom>
              <a:solidFill>
                <a:srgbClr val="E6E7E8"/>
              </a:solidFill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44B45988-024E-4738-816C-4CE2305A8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735" y="5992461"/>
                <a:ext cx="1550988" cy="2047875"/>
              </a:xfrm>
              <a:custGeom>
                <a:avLst/>
                <a:gdLst>
                  <a:gd name="T0" fmla="*/ 5 w 468"/>
                  <a:gd name="T1" fmla="*/ 558 h 620"/>
                  <a:gd name="T2" fmla="*/ 69 w 468"/>
                  <a:gd name="T3" fmla="*/ 505 h 620"/>
                  <a:gd name="T4" fmla="*/ 83 w 468"/>
                  <a:gd name="T5" fmla="*/ 495 h 620"/>
                  <a:gd name="T6" fmla="*/ 89 w 468"/>
                  <a:gd name="T7" fmla="*/ 477 h 620"/>
                  <a:gd name="T8" fmla="*/ 146 w 468"/>
                  <a:gd name="T9" fmla="*/ 414 h 620"/>
                  <a:gd name="T10" fmla="*/ 197 w 468"/>
                  <a:gd name="T11" fmla="*/ 312 h 620"/>
                  <a:gd name="T12" fmla="*/ 267 w 468"/>
                  <a:gd name="T13" fmla="*/ 274 h 620"/>
                  <a:gd name="T14" fmla="*/ 361 w 468"/>
                  <a:gd name="T15" fmla="*/ 184 h 620"/>
                  <a:gd name="T16" fmla="*/ 432 w 468"/>
                  <a:gd name="T17" fmla="*/ 17 h 620"/>
                  <a:gd name="T18" fmla="*/ 463 w 468"/>
                  <a:gd name="T19" fmla="*/ 7 h 620"/>
                  <a:gd name="T20" fmla="*/ 451 w 468"/>
                  <a:gd name="T21" fmla="*/ 34 h 620"/>
                  <a:gd name="T22" fmla="*/ 404 w 468"/>
                  <a:gd name="T23" fmla="*/ 176 h 620"/>
                  <a:gd name="T24" fmla="*/ 294 w 468"/>
                  <a:gd name="T25" fmla="*/ 355 h 620"/>
                  <a:gd name="T26" fmla="*/ 252 w 468"/>
                  <a:gd name="T27" fmla="*/ 391 h 620"/>
                  <a:gd name="T28" fmla="*/ 221 w 468"/>
                  <a:gd name="T29" fmla="*/ 445 h 620"/>
                  <a:gd name="T30" fmla="*/ 188 w 468"/>
                  <a:gd name="T31" fmla="*/ 508 h 620"/>
                  <a:gd name="T32" fmla="*/ 139 w 468"/>
                  <a:gd name="T33" fmla="*/ 529 h 620"/>
                  <a:gd name="T34" fmla="*/ 113 w 468"/>
                  <a:gd name="T35" fmla="*/ 522 h 620"/>
                  <a:gd name="T36" fmla="*/ 103 w 468"/>
                  <a:gd name="T37" fmla="*/ 536 h 620"/>
                  <a:gd name="T38" fmla="*/ 101 w 468"/>
                  <a:gd name="T39" fmla="*/ 569 h 620"/>
                  <a:gd name="T40" fmla="*/ 106 w 468"/>
                  <a:gd name="T41" fmla="*/ 576 h 620"/>
                  <a:gd name="T42" fmla="*/ 91 w 468"/>
                  <a:gd name="T43" fmla="*/ 583 h 620"/>
                  <a:gd name="T44" fmla="*/ 69 w 468"/>
                  <a:gd name="T45" fmla="*/ 595 h 620"/>
                  <a:gd name="T46" fmla="*/ 77 w 468"/>
                  <a:gd name="T47" fmla="*/ 614 h 620"/>
                  <a:gd name="T48" fmla="*/ 48 w 468"/>
                  <a:gd name="T49" fmla="*/ 615 h 620"/>
                  <a:gd name="T50" fmla="*/ 5 w 468"/>
                  <a:gd name="T51" fmla="*/ 558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8" h="620">
                    <a:moveTo>
                      <a:pt x="5" y="558"/>
                    </a:moveTo>
                    <a:cubicBezTo>
                      <a:pt x="13" y="531"/>
                      <a:pt x="38" y="511"/>
                      <a:pt x="69" y="505"/>
                    </a:cubicBezTo>
                    <a:cubicBezTo>
                      <a:pt x="85" y="503"/>
                      <a:pt x="69" y="505"/>
                      <a:pt x="83" y="495"/>
                    </a:cubicBezTo>
                    <a:cubicBezTo>
                      <a:pt x="98" y="484"/>
                      <a:pt x="86" y="486"/>
                      <a:pt x="89" y="477"/>
                    </a:cubicBezTo>
                    <a:cubicBezTo>
                      <a:pt x="91" y="469"/>
                      <a:pt x="108" y="429"/>
                      <a:pt x="146" y="414"/>
                    </a:cubicBezTo>
                    <a:cubicBezTo>
                      <a:pt x="184" y="399"/>
                      <a:pt x="169" y="337"/>
                      <a:pt x="197" y="312"/>
                    </a:cubicBezTo>
                    <a:cubicBezTo>
                      <a:pt x="225" y="286"/>
                      <a:pt x="237" y="308"/>
                      <a:pt x="267" y="274"/>
                    </a:cubicBezTo>
                    <a:cubicBezTo>
                      <a:pt x="298" y="240"/>
                      <a:pt x="352" y="202"/>
                      <a:pt x="361" y="184"/>
                    </a:cubicBezTo>
                    <a:cubicBezTo>
                      <a:pt x="370" y="166"/>
                      <a:pt x="418" y="32"/>
                      <a:pt x="432" y="17"/>
                    </a:cubicBezTo>
                    <a:cubicBezTo>
                      <a:pt x="446" y="2"/>
                      <a:pt x="457" y="0"/>
                      <a:pt x="463" y="7"/>
                    </a:cubicBezTo>
                    <a:cubicBezTo>
                      <a:pt x="468" y="14"/>
                      <a:pt x="458" y="26"/>
                      <a:pt x="451" y="34"/>
                    </a:cubicBezTo>
                    <a:cubicBezTo>
                      <a:pt x="434" y="53"/>
                      <a:pt x="429" y="135"/>
                      <a:pt x="404" y="176"/>
                    </a:cubicBezTo>
                    <a:cubicBezTo>
                      <a:pt x="379" y="218"/>
                      <a:pt x="310" y="339"/>
                      <a:pt x="294" y="355"/>
                    </a:cubicBezTo>
                    <a:cubicBezTo>
                      <a:pt x="273" y="375"/>
                      <a:pt x="265" y="373"/>
                      <a:pt x="252" y="391"/>
                    </a:cubicBezTo>
                    <a:cubicBezTo>
                      <a:pt x="236" y="413"/>
                      <a:pt x="227" y="432"/>
                      <a:pt x="221" y="445"/>
                    </a:cubicBezTo>
                    <a:cubicBezTo>
                      <a:pt x="215" y="459"/>
                      <a:pt x="205" y="491"/>
                      <a:pt x="188" y="508"/>
                    </a:cubicBezTo>
                    <a:cubicBezTo>
                      <a:pt x="167" y="528"/>
                      <a:pt x="159" y="530"/>
                      <a:pt x="139" y="529"/>
                    </a:cubicBezTo>
                    <a:cubicBezTo>
                      <a:pt x="133" y="529"/>
                      <a:pt x="119" y="520"/>
                      <a:pt x="113" y="522"/>
                    </a:cubicBezTo>
                    <a:cubicBezTo>
                      <a:pt x="102" y="524"/>
                      <a:pt x="103" y="536"/>
                      <a:pt x="103" y="536"/>
                    </a:cubicBezTo>
                    <a:cubicBezTo>
                      <a:pt x="103" y="536"/>
                      <a:pt x="119" y="553"/>
                      <a:pt x="101" y="569"/>
                    </a:cubicBezTo>
                    <a:cubicBezTo>
                      <a:pt x="101" y="569"/>
                      <a:pt x="110" y="571"/>
                      <a:pt x="106" y="576"/>
                    </a:cubicBezTo>
                    <a:cubicBezTo>
                      <a:pt x="103" y="581"/>
                      <a:pt x="91" y="583"/>
                      <a:pt x="91" y="583"/>
                    </a:cubicBezTo>
                    <a:cubicBezTo>
                      <a:pt x="91" y="583"/>
                      <a:pt x="81" y="593"/>
                      <a:pt x="69" y="595"/>
                    </a:cubicBezTo>
                    <a:cubicBezTo>
                      <a:pt x="57" y="597"/>
                      <a:pt x="76" y="610"/>
                      <a:pt x="77" y="614"/>
                    </a:cubicBezTo>
                    <a:cubicBezTo>
                      <a:pt x="77" y="618"/>
                      <a:pt x="66" y="620"/>
                      <a:pt x="48" y="615"/>
                    </a:cubicBezTo>
                    <a:cubicBezTo>
                      <a:pt x="24" y="608"/>
                      <a:pt x="0" y="575"/>
                      <a:pt x="5" y="558"/>
                    </a:cubicBezTo>
                    <a:close/>
                  </a:path>
                </a:pathLst>
              </a:custGeom>
              <a:solidFill>
                <a:srgbClr val="E6E7E8"/>
              </a:solidFill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A92D2B9D-3FEC-4111-8822-853DA4828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735" y="7475186"/>
                <a:ext cx="663575" cy="869950"/>
              </a:xfrm>
              <a:custGeom>
                <a:avLst/>
                <a:gdLst>
                  <a:gd name="T0" fmla="*/ 14 w 200"/>
                  <a:gd name="T1" fmla="*/ 263 h 263"/>
                  <a:gd name="T2" fmla="*/ 31 w 200"/>
                  <a:gd name="T3" fmla="*/ 229 h 263"/>
                  <a:gd name="T4" fmla="*/ 81 w 200"/>
                  <a:gd name="T5" fmla="*/ 138 h 263"/>
                  <a:gd name="T6" fmla="*/ 188 w 200"/>
                  <a:gd name="T7" fmla="*/ 42 h 263"/>
                  <a:gd name="T8" fmla="*/ 190 w 200"/>
                  <a:gd name="T9" fmla="*/ 10 h 263"/>
                  <a:gd name="T10" fmla="*/ 152 w 200"/>
                  <a:gd name="T11" fmla="*/ 20 h 263"/>
                  <a:gd name="T12" fmla="*/ 58 w 200"/>
                  <a:gd name="T13" fmla="*/ 122 h 263"/>
                  <a:gd name="T14" fmla="*/ 12 w 200"/>
                  <a:gd name="T15" fmla="*/ 222 h 263"/>
                  <a:gd name="T16" fmla="*/ 14 w 200"/>
                  <a:gd name="T17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0" h="263">
                    <a:moveTo>
                      <a:pt x="14" y="263"/>
                    </a:moveTo>
                    <a:cubicBezTo>
                      <a:pt x="28" y="263"/>
                      <a:pt x="29" y="245"/>
                      <a:pt x="31" y="229"/>
                    </a:cubicBezTo>
                    <a:cubicBezTo>
                      <a:pt x="34" y="213"/>
                      <a:pt x="70" y="166"/>
                      <a:pt x="81" y="138"/>
                    </a:cubicBezTo>
                    <a:cubicBezTo>
                      <a:pt x="92" y="111"/>
                      <a:pt x="179" y="53"/>
                      <a:pt x="188" y="42"/>
                    </a:cubicBezTo>
                    <a:cubicBezTo>
                      <a:pt x="198" y="32"/>
                      <a:pt x="200" y="20"/>
                      <a:pt x="190" y="10"/>
                    </a:cubicBezTo>
                    <a:cubicBezTo>
                      <a:pt x="179" y="0"/>
                      <a:pt x="156" y="17"/>
                      <a:pt x="152" y="20"/>
                    </a:cubicBezTo>
                    <a:cubicBezTo>
                      <a:pt x="142" y="27"/>
                      <a:pt x="76" y="86"/>
                      <a:pt x="58" y="122"/>
                    </a:cubicBezTo>
                    <a:cubicBezTo>
                      <a:pt x="40" y="158"/>
                      <a:pt x="9" y="217"/>
                      <a:pt x="12" y="222"/>
                    </a:cubicBezTo>
                    <a:cubicBezTo>
                      <a:pt x="16" y="226"/>
                      <a:pt x="0" y="262"/>
                      <a:pt x="14" y="263"/>
                    </a:cubicBezTo>
                    <a:close/>
                  </a:path>
                </a:pathLst>
              </a:custGeom>
              <a:solidFill>
                <a:srgbClr val="E6E7E8"/>
              </a:solidFill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4001D490-108B-42E7-B668-68FE22638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6235" y="6884636"/>
                <a:ext cx="182563" cy="158750"/>
              </a:xfrm>
              <a:custGeom>
                <a:avLst/>
                <a:gdLst>
                  <a:gd name="T0" fmla="*/ 43 w 55"/>
                  <a:gd name="T1" fmla="*/ 0 h 48"/>
                  <a:gd name="T2" fmla="*/ 55 w 55"/>
                  <a:gd name="T3" fmla="*/ 4 h 48"/>
                  <a:gd name="T4" fmla="*/ 47 w 55"/>
                  <a:gd name="T5" fmla="*/ 48 h 48"/>
                  <a:gd name="T6" fmla="*/ 0 w 55"/>
                  <a:gd name="T7" fmla="*/ 28 h 48"/>
                  <a:gd name="T8" fmla="*/ 27 w 55"/>
                  <a:gd name="T9" fmla="*/ 12 h 48"/>
                  <a:gd name="T10" fmla="*/ 43 w 55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48">
                    <a:moveTo>
                      <a:pt x="43" y="0"/>
                    </a:moveTo>
                    <a:cubicBezTo>
                      <a:pt x="55" y="4"/>
                      <a:pt x="55" y="4"/>
                      <a:pt x="55" y="4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19" y="16"/>
                      <a:pt x="27" y="12"/>
                    </a:cubicBezTo>
                    <a:cubicBezTo>
                      <a:pt x="35" y="8"/>
                      <a:pt x="43" y="0"/>
                      <a:pt x="43" y="0"/>
                    </a:cubicBezTo>
                    <a:close/>
                  </a:path>
                </a:pathLst>
              </a:custGeom>
              <a:pattFill prst="pct30">
                <a:fgClr>
                  <a:schemeClr val="accent1"/>
                </a:fgClr>
                <a:bgClr>
                  <a:schemeClr val="bg1"/>
                </a:bgClr>
              </a:pattFill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4B2BD812-6550-44C0-BBA5-BEB4E805A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335" y="6884636"/>
                <a:ext cx="466725" cy="363538"/>
              </a:xfrm>
              <a:custGeom>
                <a:avLst/>
                <a:gdLst>
                  <a:gd name="T0" fmla="*/ 82 w 141"/>
                  <a:gd name="T1" fmla="*/ 8 h 110"/>
                  <a:gd name="T2" fmla="*/ 141 w 141"/>
                  <a:gd name="T3" fmla="*/ 39 h 110"/>
                  <a:gd name="T4" fmla="*/ 78 w 141"/>
                  <a:gd name="T5" fmla="*/ 108 h 110"/>
                  <a:gd name="T6" fmla="*/ 2 w 141"/>
                  <a:gd name="T7" fmla="*/ 59 h 110"/>
                  <a:gd name="T8" fmla="*/ 30 w 141"/>
                  <a:gd name="T9" fmla="*/ 28 h 110"/>
                  <a:gd name="T10" fmla="*/ 82 w 141"/>
                  <a:gd name="T11" fmla="*/ 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110">
                    <a:moveTo>
                      <a:pt x="82" y="8"/>
                    </a:moveTo>
                    <a:cubicBezTo>
                      <a:pt x="86" y="0"/>
                      <a:pt x="141" y="39"/>
                      <a:pt x="141" y="39"/>
                    </a:cubicBezTo>
                    <a:cubicBezTo>
                      <a:pt x="141" y="39"/>
                      <a:pt x="99" y="106"/>
                      <a:pt x="78" y="108"/>
                    </a:cubicBezTo>
                    <a:cubicBezTo>
                      <a:pt x="57" y="110"/>
                      <a:pt x="6" y="63"/>
                      <a:pt x="2" y="59"/>
                    </a:cubicBezTo>
                    <a:cubicBezTo>
                      <a:pt x="0" y="58"/>
                      <a:pt x="14" y="28"/>
                      <a:pt x="30" y="28"/>
                    </a:cubicBezTo>
                    <a:cubicBezTo>
                      <a:pt x="46" y="28"/>
                      <a:pt x="80" y="12"/>
                      <a:pt x="82" y="8"/>
                    </a:cubicBezTo>
                    <a:close/>
                  </a:path>
                </a:pathLst>
              </a:custGeom>
              <a:pattFill prst="pct70">
                <a:fgClr>
                  <a:schemeClr val="accent1"/>
                </a:fgClr>
                <a:bgClr>
                  <a:schemeClr val="bg1"/>
                </a:bgClr>
              </a:pattFill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9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F688A898-804E-49D4-9359-38EC81045C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7097953" y="2533650"/>
            <a:ext cx="441611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7099069" y="3429000"/>
            <a:ext cx="441611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9/2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 59">
            <a:extLst>
              <a:ext uri="{FF2B5EF4-FFF2-40B4-BE49-F238E27FC236}">
                <a16:creationId xmlns:a16="http://schemas.microsoft.com/office/drawing/2014/main" id="{DA933CDC-754E-43AE-8C54-CDADD9D1C1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0783F50A-E3F1-46F0-B3C5-D9E50CBA9512}"/>
              </a:ext>
            </a:extLst>
          </p:cNvPr>
          <p:cNvGrpSpPr/>
          <p:nvPr/>
        </p:nvGrpSpPr>
        <p:grpSpPr>
          <a:xfrm rot="18748573" flipH="1">
            <a:off x="1255425" y="2325221"/>
            <a:ext cx="3480268" cy="3498259"/>
            <a:chOff x="4821484" y="454296"/>
            <a:chExt cx="4253758" cy="4275748"/>
          </a:xfrm>
        </p:grpSpPr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9E5C51A1-92F9-4DDE-A86D-0EE68BB1D9BF}"/>
                </a:ext>
              </a:extLst>
            </p:cNvPr>
            <p:cNvSpPr txBox="1"/>
            <p:nvPr/>
          </p:nvSpPr>
          <p:spPr>
            <a:xfrm>
              <a:off x="5171441" y="839514"/>
              <a:ext cx="3903801" cy="3890530"/>
            </a:xfrm>
            <a:custGeom>
              <a:avLst/>
              <a:gdLst/>
              <a:ahLst/>
              <a:cxnLst/>
              <a:rect l="l" t="t" r="r" b="b"/>
              <a:pathLst>
                <a:path w="875705" h="872728">
                  <a:moveTo>
                    <a:pt x="431007" y="203597"/>
                  </a:moveTo>
                  <a:lnTo>
                    <a:pt x="313135" y="527447"/>
                  </a:lnTo>
                  <a:lnTo>
                    <a:pt x="551260" y="527447"/>
                  </a:lnTo>
                  <a:close/>
                  <a:moveTo>
                    <a:pt x="339924" y="0"/>
                  </a:moveTo>
                  <a:lnTo>
                    <a:pt x="526256" y="0"/>
                  </a:lnTo>
                  <a:lnTo>
                    <a:pt x="875705" y="872728"/>
                  </a:lnTo>
                  <a:lnTo>
                    <a:pt x="684014" y="872728"/>
                  </a:lnTo>
                  <a:lnTo>
                    <a:pt x="607814" y="674489"/>
                  </a:lnTo>
                  <a:lnTo>
                    <a:pt x="258961" y="674489"/>
                  </a:lnTo>
                  <a:lnTo>
                    <a:pt x="186928" y="872728"/>
                  </a:lnTo>
                  <a:lnTo>
                    <a:pt x="0" y="872728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 dirty="0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DDE4CCF-DF60-4D4D-B8B3-04238619F39F}"/>
                </a:ext>
              </a:extLst>
            </p:cNvPr>
            <p:cNvSpPr/>
            <p:nvPr/>
          </p:nvSpPr>
          <p:spPr>
            <a:xfrm>
              <a:off x="5113116" y="775311"/>
              <a:ext cx="3903801" cy="3890530"/>
            </a:xfrm>
            <a:custGeom>
              <a:avLst/>
              <a:gdLst/>
              <a:ahLst/>
              <a:cxnLst/>
              <a:rect l="0" t="0" r="0" b="0"/>
              <a:pathLst>
                <a:path w="3903802" h="3890531">
                  <a:moveTo>
                    <a:pt x="1921384" y="907614"/>
                  </a:moveTo>
                  <a:lnTo>
                    <a:pt x="1395923" y="2351303"/>
                  </a:lnTo>
                  <a:lnTo>
                    <a:pt x="2457459" y="2351303"/>
                  </a:lnTo>
                  <a:lnTo>
                    <a:pt x="1515346" y="0"/>
                  </a:lnTo>
                  <a:lnTo>
                    <a:pt x="2345994" y="0"/>
                  </a:lnTo>
                  <a:lnTo>
                    <a:pt x="3903801" y="3890530"/>
                  </a:lnTo>
                  <a:lnTo>
                    <a:pt x="3049263" y="3890530"/>
                  </a:lnTo>
                  <a:lnTo>
                    <a:pt x="2709571" y="3006801"/>
                  </a:lnTo>
                  <a:lnTo>
                    <a:pt x="1154421" y="3006801"/>
                  </a:lnTo>
                  <a:lnTo>
                    <a:pt x="833305" y="3890530"/>
                  </a:lnTo>
                  <a:lnTo>
                    <a:pt x="0" y="3890530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28B7C727-870A-430D-801D-91964064874F}"/>
                </a:ext>
              </a:extLst>
            </p:cNvPr>
            <p:cNvSpPr/>
            <p:nvPr/>
          </p:nvSpPr>
          <p:spPr>
            <a:xfrm>
              <a:off x="5054790" y="711108"/>
              <a:ext cx="3903801" cy="3890530"/>
            </a:xfrm>
            <a:custGeom>
              <a:avLst/>
              <a:gdLst/>
              <a:ahLst/>
              <a:cxnLst/>
              <a:rect l="0" t="0" r="0" b="0"/>
              <a:pathLst>
                <a:path w="3903802" h="3890531">
                  <a:moveTo>
                    <a:pt x="1921384" y="907614"/>
                  </a:moveTo>
                  <a:lnTo>
                    <a:pt x="1395923" y="2351303"/>
                  </a:lnTo>
                  <a:lnTo>
                    <a:pt x="2457459" y="2351303"/>
                  </a:lnTo>
                  <a:lnTo>
                    <a:pt x="1515346" y="0"/>
                  </a:lnTo>
                  <a:lnTo>
                    <a:pt x="2345993" y="0"/>
                  </a:lnTo>
                  <a:lnTo>
                    <a:pt x="3903801" y="3890530"/>
                  </a:lnTo>
                  <a:lnTo>
                    <a:pt x="3049262" y="3890530"/>
                  </a:lnTo>
                  <a:lnTo>
                    <a:pt x="2709570" y="3006801"/>
                  </a:lnTo>
                  <a:lnTo>
                    <a:pt x="1154421" y="3006801"/>
                  </a:lnTo>
                  <a:lnTo>
                    <a:pt x="833305" y="3890530"/>
                  </a:lnTo>
                  <a:lnTo>
                    <a:pt x="0" y="3890530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C2AA309B-7E03-4BBA-ABAE-81F3A94F0513}"/>
                </a:ext>
              </a:extLst>
            </p:cNvPr>
            <p:cNvSpPr/>
            <p:nvPr/>
          </p:nvSpPr>
          <p:spPr>
            <a:xfrm>
              <a:off x="4996462" y="646905"/>
              <a:ext cx="3903801" cy="3890530"/>
            </a:xfrm>
            <a:custGeom>
              <a:avLst/>
              <a:gdLst/>
              <a:ahLst/>
              <a:cxnLst/>
              <a:rect l="0" t="0" r="0" b="0"/>
              <a:pathLst>
                <a:path w="3903803" h="3890531">
                  <a:moveTo>
                    <a:pt x="1921385" y="907614"/>
                  </a:moveTo>
                  <a:lnTo>
                    <a:pt x="1395924" y="2351303"/>
                  </a:lnTo>
                  <a:lnTo>
                    <a:pt x="2457460" y="2351303"/>
                  </a:lnTo>
                  <a:lnTo>
                    <a:pt x="1515347" y="0"/>
                  </a:lnTo>
                  <a:lnTo>
                    <a:pt x="2345994" y="0"/>
                  </a:lnTo>
                  <a:lnTo>
                    <a:pt x="3903802" y="3890530"/>
                  </a:lnTo>
                  <a:lnTo>
                    <a:pt x="3049263" y="3890530"/>
                  </a:lnTo>
                  <a:lnTo>
                    <a:pt x="2709572" y="3006801"/>
                  </a:lnTo>
                  <a:lnTo>
                    <a:pt x="1154421" y="3006801"/>
                  </a:lnTo>
                  <a:lnTo>
                    <a:pt x="833305" y="3890530"/>
                  </a:lnTo>
                  <a:lnTo>
                    <a:pt x="0" y="3890530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FF401FE4-C282-4133-8476-B76E6B727E60}"/>
                </a:ext>
              </a:extLst>
            </p:cNvPr>
            <p:cNvSpPr/>
            <p:nvPr/>
          </p:nvSpPr>
          <p:spPr>
            <a:xfrm>
              <a:off x="4938136" y="582702"/>
              <a:ext cx="3903801" cy="3890530"/>
            </a:xfrm>
            <a:custGeom>
              <a:avLst/>
              <a:gdLst/>
              <a:ahLst/>
              <a:cxnLst/>
              <a:rect l="0" t="0" r="0" b="0"/>
              <a:pathLst>
                <a:path w="3903803" h="3890531">
                  <a:moveTo>
                    <a:pt x="1921385" y="907614"/>
                  </a:moveTo>
                  <a:lnTo>
                    <a:pt x="1395924" y="2351303"/>
                  </a:lnTo>
                  <a:lnTo>
                    <a:pt x="2457460" y="2351303"/>
                  </a:lnTo>
                  <a:lnTo>
                    <a:pt x="1515346" y="0"/>
                  </a:lnTo>
                  <a:lnTo>
                    <a:pt x="2345995" y="0"/>
                  </a:lnTo>
                  <a:lnTo>
                    <a:pt x="3903802" y="3890530"/>
                  </a:lnTo>
                  <a:lnTo>
                    <a:pt x="3049263" y="3890530"/>
                  </a:lnTo>
                  <a:lnTo>
                    <a:pt x="2709572" y="3006801"/>
                  </a:lnTo>
                  <a:lnTo>
                    <a:pt x="1154421" y="3006801"/>
                  </a:lnTo>
                  <a:lnTo>
                    <a:pt x="833305" y="3890530"/>
                  </a:lnTo>
                  <a:lnTo>
                    <a:pt x="0" y="3890530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5EC64F27-DF4B-4A2D-894E-4D54DD936501}"/>
                </a:ext>
              </a:extLst>
            </p:cNvPr>
            <p:cNvSpPr/>
            <p:nvPr/>
          </p:nvSpPr>
          <p:spPr>
            <a:xfrm>
              <a:off x="4879811" y="518499"/>
              <a:ext cx="3903801" cy="3890530"/>
            </a:xfrm>
            <a:custGeom>
              <a:avLst/>
              <a:gdLst/>
              <a:ahLst/>
              <a:cxnLst/>
              <a:rect l="0" t="0" r="0" b="0"/>
              <a:pathLst>
                <a:path w="3903802" h="3890531">
                  <a:moveTo>
                    <a:pt x="1921384" y="907614"/>
                  </a:moveTo>
                  <a:lnTo>
                    <a:pt x="1395923" y="2351303"/>
                  </a:lnTo>
                  <a:lnTo>
                    <a:pt x="2457459" y="2351303"/>
                  </a:lnTo>
                  <a:lnTo>
                    <a:pt x="1515346" y="0"/>
                  </a:lnTo>
                  <a:lnTo>
                    <a:pt x="2345994" y="0"/>
                  </a:lnTo>
                  <a:lnTo>
                    <a:pt x="3903801" y="3890530"/>
                  </a:lnTo>
                  <a:lnTo>
                    <a:pt x="3049263" y="3890530"/>
                  </a:lnTo>
                  <a:lnTo>
                    <a:pt x="2709571" y="3006801"/>
                  </a:lnTo>
                  <a:lnTo>
                    <a:pt x="1154421" y="3006801"/>
                  </a:lnTo>
                  <a:lnTo>
                    <a:pt x="833305" y="3890530"/>
                  </a:lnTo>
                  <a:lnTo>
                    <a:pt x="0" y="3890530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9" name="文本框 58">
              <a:extLst>
                <a:ext uri="{FF2B5EF4-FFF2-40B4-BE49-F238E27FC236}">
                  <a16:creationId xmlns:a16="http://schemas.microsoft.com/office/drawing/2014/main" id="{71D94960-D496-4D9B-B074-995756184314}"/>
                </a:ext>
              </a:extLst>
            </p:cNvPr>
            <p:cNvSpPr txBox="1"/>
            <p:nvPr/>
          </p:nvSpPr>
          <p:spPr>
            <a:xfrm>
              <a:off x="4821484" y="454296"/>
              <a:ext cx="3903801" cy="3890530"/>
            </a:xfrm>
            <a:custGeom>
              <a:avLst/>
              <a:gdLst/>
              <a:ahLst/>
              <a:cxnLst/>
              <a:rect l="l" t="t" r="r" b="b"/>
              <a:pathLst>
                <a:path w="875705" h="872728">
                  <a:moveTo>
                    <a:pt x="431007" y="203597"/>
                  </a:moveTo>
                  <a:lnTo>
                    <a:pt x="313135" y="527447"/>
                  </a:lnTo>
                  <a:lnTo>
                    <a:pt x="551260" y="527447"/>
                  </a:lnTo>
                  <a:close/>
                  <a:moveTo>
                    <a:pt x="339924" y="0"/>
                  </a:moveTo>
                  <a:lnTo>
                    <a:pt x="526256" y="0"/>
                  </a:lnTo>
                  <a:lnTo>
                    <a:pt x="875705" y="872728"/>
                  </a:lnTo>
                  <a:lnTo>
                    <a:pt x="684014" y="872728"/>
                  </a:lnTo>
                  <a:lnTo>
                    <a:pt x="607814" y="674489"/>
                  </a:lnTo>
                  <a:lnTo>
                    <a:pt x="258961" y="674489"/>
                  </a:lnTo>
                  <a:lnTo>
                    <a:pt x="186928" y="872728"/>
                  </a:lnTo>
                  <a:lnTo>
                    <a:pt x="0" y="872728"/>
                  </a:lnTo>
                  <a:close/>
                </a:path>
              </a:pathLst>
            </a:custGeom>
            <a:pattFill prst="pct90">
              <a:fgClr>
                <a:schemeClr val="accent1"/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 dirty="0"/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79CBE096-FE6A-409C-93C4-D88951096128}"/>
              </a:ext>
            </a:extLst>
          </p:cNvPr>
          <p:cNvGrpSpPr/>
          <p:nvPr/>
        </p:nvGrpSpPr>
        <p:grpSpPr>
          <a:xfrm rot="18803437" flipH="1">
            <a:off x="4485368" y="269872"/>
            <a:ext cx="924780" cy="3594192"/>
            <a:chOff x="8683764" y="1343102"/>
            <a:chExt cx="933958" cy="3629861"/>
          </a:xfrm>
        </p:grpSpPr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E966134F-BA11-402B-9D32-0015DFBFF0C0}"/>
                </a:ext>
              </a:extLst>
            </p:cNvPr>
            <p:cNvSpPr txBox="1"/>
            <p:nvPr/>
          </p:nvSpPr>
          <p:spPr>
            <a:xfrm>
              <a:off x="8927318" y="1553590"/>
              <a:ext cx="690404" cy="3419373"/>
            </a:xfrm>
            <a:custGeom>
              <a:avLst/>
              <a:gdLst/>
              <a:ahLst/>
              <a:cxnLst/>
              <a:rect l="l" t="t" r="r" b="b"/>
              <a:pathLst>
                <a:path w="176212" h="872728">
                  <a:moveTo>
                    <a:pt x="0" y="0"/>
                  </a:moveTo>
                  <a:lnTo>
                    <a:pt x="176212" y="0"/>
                  </a:lnTo>
                  <a:lnTo>
                    <a:pt x="176212" y="872728"/>
                  </a:lnTo>
                  <a:lnTo>
                    <a:pt x="0" y="872728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 dirty="0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D7403BBF-ADA5-468C-AF63-210DE571EEE2}"/>
                </a:ext>
              </a:extLst>
            </p:cNvPr>
            <p:cNvSpPr/>
            <p:nvPr/>
          </p:nvSpPr>
          <p:spPr>
            <a:xfrm>
              <a:off x="8886726" y="1518510"/>
              <a:ext cx="690404" cy="3419373"/>
            </a:xfrm>
            <a:custGeom>
              <a:avLst/>
              <a:gdLst/>
              <a:ahLst/>
              <a:cxnLst/>
              <a:rect l="0" t="0" r="0" b="0"/>
              <a:pathLst>
                <a:path w="690405" h="3419374">
                  <a:moveTo>
                    <a:pt x="0" y="0"/>
                  </a:moveTo>
                  <a:lnTo>
                    <a:pt x="690404" y="0"/>
                  </a:lnTo>
                  <a:lnTo>
                    <a:pt x="690404" y="3419373"/>
                  </a:lnTo>
                  <a:lnTo>
                    <a:pt x="0" y="3419373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BA40A6F0-15B3-4695-8D28-7F95658641F6}"/>
                </a:ext>
              </a:extLst>
            </p:cNvPr>
            <p:cNvSpPr/>
            <p:nvPr/>
          </p:nvSpPr>
          <p:spPr>
            <a:xfrm>
              <a:off x="8846133" y="1483428"/>
              <a:ext cx="690404" cy="3419373"/>
            </a:xfrm>
            <a:custGeom>
              <a:avLst/>
              <a:gdLst/>
              <a:ahLst/>
              <a:cxnLst/>
              <a:rect l="0" t="0" r="0" b="0"/>
              <a:pathLst>
                <a:path w="690405" h="3419374">
                  <a:moveTo>
                    <a:pt x="0" y="0"/>
                  </a:moveTo>
                  <a:lnTo>
                    <a:pt x="690404" y="0"/>
                  </a:lnTo>
                  <a:lnTo>
                    <a:pt x="690404" y="3419373"/>
                  </a:lnTo>
                  <a:lnTo>
                    <a:pt x="0" y="3419373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19C7F74A-70A3-4929-836E-438DCC633506}"/>
                </a:ext>
              </a:extLst>
            </p:cNvPr>
            <p:cNvSpPr/>
            <p:nvPr/>
          </p:nvSpPr>
          <p:spPr>
            <a:xfrm>
              <a:off x="8805541" y="1448347"/>
              <a:ext cx="690404" cy="3419373"/>
            </a:xfrm>
            <a:custGeom>
              <a:avLst/>
              <a:gdLst/>
              <a:ahLst/>
              <a:cxnLst/>
              <a:rect l="0" t="0" r="0" b="0"/>
              <a:pathLst>
                <a:path w="690405" h="3419374">
                  <a:moveTo>
                    <a:pt x="0" y="0"/>
                  </a:moveTo>
                  <a:lnTo>
                    <a:pt x="690404" y="0"/>
                  </a:lnTo>
                  <a:lnTo>
                    <a:pt x="690404" y="3419373"/>
                  </a:lnTo>
                  <a:lnTo>
                    <a:pt x="0" y="3419373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91DFF44-0391-4F36-96C7-243F7336F88A}"/>
                </a:ext>
              </a:extLst>
            </p:cNvPr>
            <p:cNvSpPr/>
            <p:nvPr/>
          </p:nvSpPr>
          <p:spPr>
            <a:xfrm>
              <a:off x="8764949" y="1413266"/>
              <a:ext cx="690404" cy="3419373"/>
            </a:xfrm>
            <a:custGeom>
              <a:avLst/>
              <a:gdLst/>
              <a:ahLst/>
              <a:cxnLst/>
              <a:rect l="0" t="0" r="0" b="0"/>
              <a:pathLst>
                <a:path w="690405" h="3419374">
                  <a:moveTo>
                    <a:pt x="0" y="0"/>
                  </a:moveTo>
                  <a:lnTo>
                    <a:pt x="690404" y="0"/>
                  </a:lnTo>
                  <a:lnTo>
                    <a:pt x="690404" y="3419373"/>
                  </a:lnTo>
                  <a:lnTo>
                    <a:pt x="0" y="3419373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DC68E6D4-E79F-4E9A-995B-301616D858FE}"/>
                </a:ext>
              </a:extLst>
            </p:cNvPr>
            <p:cNvSpPr/>
            <p:nvPr/>
          </p:nvSpPr>
          <p:spPr>
            <a:xfrm>
              <a:off x="8724356" y="1378184"/>
              <a:ext cx="690404" cy="3419373"/>
            </a:xfrm>
            <a:custGeom>
              <a:avLst/>
              <a:gdLst/>
              <a:ahLst/>
              <a:cxnLst/>
              <a:rect l="0" t="0" r="0" b="0"/>
              <a:pathLst>
                <a:path w="690405" h="3419374">
                  <a:moveTo>
                    <a:pt x="0" y="0"/>
                  </a:moveTo>
                  <a:lnTo>
                    <a:pt x="690404" y="0"/>
                  </a:lnTo>
                  <a:lnTo>
                    <a:pt x="690404" y="3419373"/>
                  </a:lnTo>
                  <a:lnTo>
                    <a:pt x="0" y="3419373"/>
                  </a:lnTo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>
                <a:solidFill>
                  <a:srgbClr val="000000"/>
                </a:solidFill>
              </a:endParaRPr>
            </a:p>
          </p:txBody>
        </p: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6FA08B54-CC68-4861-BE05-90B6C94FFDE2}"/>
                </a:ext>
              </a:extLst>
            </p:cNvPr>
            <p:cNvSpPr txBox="1"/>
            <p:nvPr/>
          </p:nvSpPr>
          <p:spPr>
            <a:xfrm>
              <a:off x="8683764" y="1343102"/>
              <a:ext cx="690404" cy="3419373"/>
            </a:xfrm>
            <a:custGeom>
              <a:avLst/>
              <a:gdLst/>
              <a:ahLst/>
              <a:cxnLst/>
              <a:rect l="l" t="t" r="r" b="b"/>
              <a:pathLst>
                <a:path w="176212" h="872728">
                  <a:moveTo>
                    <a:pt x="0" y="0"/>
                  </a:moveTo>
                  <a:lnTo>
                    <a:pt x="176212" y="0"/>
                  </a:lnTo>
                  <a:lnTo>
                    <a:pt x="176212" y="872728"/>
                  </a:lnTo>
                  <a:lnTo>
                    <a:pt x="0" y="872728"/>
                  </a:lnTo>
                  <a:close/>
                </a:path>
              </a:pathLst>
            </a:custGeom>
            <a:pattFill prst="pct90">
              <a:fgClr>
                <a:schemeClr val="accent1"/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600" b="1" dirty="0"/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3C831184-6AFA-416B-8D0D-3D4F85AB1CC2}"/>
              </a:ext>
            </a:extLst>
          </p:cNvPr>
          <p:cNvGrpSpPr/>
          <p:nvPr userDrawn="1"/>
        </p:nvGrpSpPr>
        <p:grpSpPr>
          <a:xfrm rot="21436728" flipH="1">
            <a:off x="813696" y="2428772"/>
            <a:ext cx="378610" cy="532130"/>
            <a:chOff x="3863009" y="963295"/>
            <a:chExt cx="378610" cy="532130"/>
          </a:xfrm>
        </p:grpSpPr>
        <p:sp>
          <p:nvSpPr>
            <p:cNvPr id="41" name="菱形 306">
              <a:extLst>
                <a:ext uri="{FF2B5EF4-FFF2-40B4-BE49-F238E27FC236}">
                  <a16:creationId xmlns:a16="http://schemas.microsoft.com/office/drawing/2014/main" id="{E53D4582-697A-4DB0-AA61-ED0EC6F5822D}"/>
                </a:ext>
              </a:extLst>
            </p:cNvPr>
            <p:cNvSpPr/>
            <p:nvPr/>
          </p:nvSpPr>
          <p:spPr>
            <a:xfrm>
              <a:off x="3867150" y="1130300"/>
              <a:ext cx="365125" cy="365125"/>
            </a:xfrm>
            <a:custGeom>
              <a:avLst/>
              <a:gdLst>
                <a:gd name="connsiteX0" fmla="*/ 0 w 365125"/>
                <a:gd name="connsiteY0" fmla="*/ 182563 h 365125"/>
                <a:gd name="connsiteX1" fmla="*/ 182563 w 365125"/>
                <a:gd name="connsiteY1" fmla="*/ 0 h 365125"/>
                <a:gd name="connsiteX2" fmla="*/ 365125 w 365125"/>
                <a:gd name="connsiteY2" fmla="*/ 182563 h 365125"/>
                <a:gd name="connsiteX3" fmla="*/ 182563 w 365125"/>
                <a:gd name="connsiteY3" fmla="*/ 365125 h 365125"/>
                <a:gd name="connsiteX4" fmla="*/ 0 w 365125"/>
                <a:gd name="connsiteY4" fmla="*/ 182563 h 365125"/>
                <a:gd name="connsiteX0" fmla="*/ 3867150 w 4232275"/>
                <a:gd name="connsiteY0" fmla="*/ 1312863 h 1495425"/>
                <a:gd name="connsiteX1" fmla="*/ 0 w 4232275"/>
                <a:gd name="connsiteY1" fmla="*/ 0 h 1495425"/>
                <a:gd name="connsiteX2" fmla="*/ 4049713 w 4232275"/>
                <a:gd name="connsiteY2" fmla="*/ 1130300 h 1495425"/>
                <a:gd name="connsiteX3" fmla="*/ 4232275 w 4232275"/>
                <a:gd name="connsiteY3" fmla="*/ 1312863 h 1495425"/>
                <a:gd name="connsiteX4" fmla="*/ 4049713 w 4232275"/>
                <a:gd name="connsiteY4" fmla="*/ 1495425 h 1495425"/>
                <a:gd name="connsiteX5" fmla="*/ 3867150 w 4232275"/>
                <a:gd name="connsiteY5" fmla="*/ 1312863 h 1495425"/>
                <a:gd name="connsiteX0" fmla="*/ 0 w 365125"/>
                <a:gd name="connsiteY0" fmla="*/ 182563 h 365125"/>
                <a:gd name="connsiteX1" fmla="*/ 182563 w 365125"/>
                <a:gd name="connsiteY1" fmla="*/ 0 h 365125"/>
                <a:gd name="connsiteX2" fmla="*/ 365125 w 365125"/>
                <a:gd name="connsiteY2" fmla="*/ 182563 h 365125"/>
                <a:gd name="connsiteX3" fmla="*/ 182563 w 365125"/>
                <a:gd name="connsiteY3" fmla="*/ 365125 h 365125"/>
                <a:gd name="connsiteX4" fmla="*/ 0 w 365125"/>
                <a:gd name="connsiteY4" fmla="*/ 182563 h 36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125" h="365125">
                  <a:moveTo>
                    <a:pt x="0" y="182563"/>
                  </a:moveTo>
                  <a:lnTo>
                    <a:pt x="182563" y="0"/>
                  </a:lnTo>
                  <a:lnTo>
                    <a:pt x="365125" y="182563"/>
                  </a:lnTo>
                  <a:lnTo>
                    <a:pt x="182563" y="365125"/>
                  </a:lnTo>
                  <a:lnTo>
                    <a:pt x="0" y="182563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0B2E616-AF8A-4E0E-BACC-686FC1DCD00D}"/>
                </a:ext>
              </a:extLst>
            </p:cNvPr>
            <p:cNvSpPr/>
            <p:nvPr/>
          </p:nvSpPr>
          <p:spPr>
            <a:xfrm>
              <a:off x="3863009" y="1055112"/>
              <a:ext cx="365125" cy="365125"/>
            </a:xfrm>
            <a:custGeom>
              <a:avLst/>
              <a:gdLst/>
              <a:ahLst/>
              <a:cxnLst/>
              <a:rect l="0" t="0" r="0" b="0"/>
              <a:pathLst>
                <a:path w="365126" h="365126">
                  <a:moveTo>
                    <a:pt x="0" y="182563"/>
                  </a:moveTo>
                  <a:lnTo>
                    <a:pt x="182563" y="0"/>
                  </a:lnTo>
                  <a:lnTo>
                    <a:pt x="365125" y="182563"/>
                  </a:lnTo>
                  <a:lnTo>
                    <a:pt x="182563" y="365125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43" name="菱形 307">
              <a:extLst>
                <a:ext uri="{FF2B5EF4-FFF2-40B4-BE49-F238E27FC236}">
                  <a16:creationId xmlns:a16="http://schemas.microsoft.com/office/drawing/2014/main" id="{ABAACAC1-2889-49AB-8821-B3B1474E2108}"/>
                </a:ext>
              </a:extLst>
            </p:cNvPr>
            <p:cNvSpPr/>
            <p:nvPr/>
          </p:nvSpPr>
          <p:spPr>
            <a:xfrm>
              <a:off x="3876494" y="963295"/>
              <a:ext cx="365125" cy="365125"/>
            </a:xfrm>
            <a:custGeom>
              <a:avLst/>
              <a:gdLst>
                <a:gd name="connsiteX0" fmla="*/ 0 w 365125"/>
                <a:gd name="connsiteY0" fmla="*/ 182563 h 365125"/>
                <a:gd name="connsiteX1" fmla="*/ 182563 w 365125"/>
                <a:gd name="connsiteY1" fmla="*/ 0 h 365125"/>
                <a:gd name="connsiteX2" fmla="*/ 365125 w 365125"/>
                <a:gd name="connsiteY2" fmla="*/ 182563 h 365125"/>
                <a:gd name="connsiteX3" fmla="*/ 182563 w 365125"/>
                <a:gd name="connsiteY3" fmla="*/ 365125 h 365125"/>
                <a:gd name="connsiteX4" fmla="*/ 0 w 365125"/>
                <a:gd name="connsiteY4" fmla="*/ 182563 h 365125"/>
                <a:gd name="connsiteX0" fmla="*/ 3858865 w 4223990"/>
                <a:gd name="connsiteY0" fmla="*/ 1162485 h 1345047"/>
                <a:gd name="connsiteX1" fmla="*/ 0 w 4223990"/>
                <a:gd name="connsiteY1" fmla="*/ 0 h 1345047"/>
                <a:gd name="connsiteX2" fmla="*/ 4041428 w 4223990"/>
                <a:gd name="connsiteY2" fmla="*/ 979922 h 1345047"/>
                <a:gd name="connsiteX3" fmla="*/ 4223990 w 4223990"/>
                <a:gd name="connsiteY3" fmla="*/ 1162485 h 1345047"/>
                <a:gd name="connsiteX4" fmla="*/ 4041428 w 4223990"/>
                <a:gd name="connsiteY4" fmla="*/ 1345047 h 1345047"/>
                <a:gd name="connsiteX5" fmla="*/ 3858865 w 4223990"/>
                <a:gd name="connsiteY5" fmla="*/ 1162485 h 1345047"/>
                <a:gd name="connsiteX0" fmla="*/ 0 w 365125"/>
                <a:gd name="connsiteY0" fmla="*/ 182563 h 365125"/>
                <a:gd name="connsiteX1" fmla="*/ 182563 w 365125"/>
                <a:gd name="connsiteY1" fmla="*/ 0 h 365125"/>
                <a:gd name="connsiteX2" fmla="*/ 365125 w 365125"/>
                <a:gd name="connsiteY2" fmla="*/ 182563 h 365125"/>
                <a:gd name="connsiteX3" fmla="*/ 182563 w 365125"/>
                <a:gd name="connsiteY3" fmla="*/ 365125 h 365125"/>
                <a:gd name="connsiteX4" fmla="*/ 0 w 365125"/>
                <a:gd name="connsiteY4" fmla="*/ 182563 h 36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125" h="365125">
                  <a:moveTo>
                    <a:pt x="0" y="182563"/>
                  </a:moveTo>
                  <a:lnTo>
                    <a:pt x="182563" y="0"/>
                  </a:lnTo>
                  <a:lnTo>
                    <a:pt x="365125" y="182563"/>
                  </a:lnTo>
                  <a:lnTo>
                    <a:pt x="182563" y="365125"/>
                  </a:lnTo>
                  <a:lnTo>
                    <a:pt x="0" y="182563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4C36B97D-5BEB-4598-AE63-299E30BF6553}"/>
              </a:ext>
            </a:extLst>
          </p:cNvPr>
          <p:cNvGrpSpPr/>
          <p:nvPr userDrawn="1"/>
        </p:nvGrpSpPr>
        <p:grpSpPr>
          <a:xfrm flipH="1">
            <a:off x="4654823" y="5034157"/>
            <a:ext cx="693896" cy="881918"/>
            <a:chOff x="3533775" y="613319"/>
            <a:chExt cx="693896" cy="881918"/>
          </a:xfrm>
        </p:grpSpPr>
        <p:sp>
          <p:nvSpPr>
            <p:cNvPr id="36" name="圆: 空心 332">
              <a:extLst>
                <a:ext uri="{FF2B5EF4-FFF2-40B4-BE49-F238E27FC236}">
                  <a16:creationId xmlns:a16="http://schemas.microsoft.com/office/drawing/2014/main" id="{924A09F3-3EFE-4735-9EE6-C98BD43566A5}"/>
                </a:ext>
              </a:extLst>
            </p:cNvPr>
            <p:cNvSpPr/>
            <p:nvPr/>
          </p:nvSpPr>
          <p:spPr>
            <a:xfrm>
              <a:off x="3533775" y="809625"/>
              <a:ext cx="685612" cy="685612"/>
            </a:xfrm>
            <a:custGeom>
              <a:avLst/>
              <a:gdLst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  <a:gd name="connsiteX0" fmla="*/ 3533775 w 4219387"/>
                <a:gd name="connsiteY0" fmla="*/ 1152431 h 1495237"/>
                <a:gd name="connsiteX1" fmla="*/ 0 w 4219387"/>
                <a:gd name="connsiteY1" fmla="*/ 0 h 1495237"/>
                <a:gd name="connsiteX2" fmla="*/ 3876581 w 4219387"/>
                <a:gd name="connsiteY2" fmla="*/ 809625 h 1495237"/>
                <a:gd name="connsiteX3" fmla="*/ 4219387 w 4219387"/>
                <a:gd name="connsiteY3" fmla="*/ 1152431 h 1495237"/>
                <a:gd name="connsiteX4" fmla="*/ 3876581 w 4219387"/>
                <a:gd name="connsiteY4" fmla="*/ 1495237 h 1495237"/>
                <a:gd name="connsiteX5" fmla="*/ 3533775 w 4219387"/>
                <a:gd name="connsiteY5" fmla="*/ 1152431 h 1495237"/>
                <a:gd name="connsiteX6" fmla="*/ 3705178 w 4219387"/>
                <a:gd name="connsiteY6" fmla="*/ 1152431 h 1495237"/>
                <a:gd name="connsiteX7" fmla="*/ 3876581 w 4219387"/>
                <a:gd name="connsiteY7" fmla="*/ 1323834 h 1495237"/>
                <a:gd name="connsiteX8" fmla="*/ 4047984 w 4219387"/>
                <a:gd name="connsiteY8" fmla="*/ 1152431 h 1495237"/>
                <a:gd name="connsiteX9" fmla="*/ 3876581 w 4219387"/>
                <a:gd name="connsiteY9" fmla="*/ 981028 h 1495237"/>
                <a:gd name="connsiteX10" fmla="*/ 3705178 w 4219387"/>
                <a:gd name="connsiteY10" fmla="*/ 1152431 h 1495237"/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5612" h="685612">
                  <a:moveTo>
                    <a:pt x="0" y="342806"/>
                  </a:moveTo>
                  <a:cubicBezTo>
                    <a:pt x="0" y="153479"/>
                    <a:pt x="153479" y="0"/>
                    <a:pt x="342806" y="0"/>
                  </a:cubicBezTo>
                  <a:cubicBezTo>
                    <a:pt x="532133" y="0"/>
                    <a:pt x="685612" y="153479"/>
                    <a:pt x="685612" y="342806"/>
                  </a:cubicBezTo>
                  <a:cubicBezTo>
                    <a:pt x="685612" y="532133"/>
                    <a:pt x="532133" y="685612"/>
                    <a:pt x="342806" y="685612"/>
                  </a:cubicBezTo>
                  <a:cubicBezTo>
                    <a:pt x="153479" y="685612"/>
                    <a:pt x="0" y="532133"/>
                    <a:pt x="0" y="342806"/>
                  </a:cubicBezTo>
                  <a:close/>
                  <a:moveTo>
                    <a:pt x="171403" y="342806"/>
                  </a:moveTo>
                  <a:cubicBezTo>
                    <a:pt x="171403" y="437469"/>
                    <a:pt x="248143" y="514209"/>
                    <a:pt x="342806" y="514209"/>
                  </a:cubicBezTo>
                  <a:cubicBezTo>
                    <a:pt x="437469" y="514209"/>
                    <a:pt x="514209" y="437469"/>
                    <a:pt x="514209" y="342806"/>
                  </a:cubicBezTo>
                  <a:cubicBezTo>
                    <a:pt x="514209" y="248143"/>
                    <a:pt x="437469" y="171403"/>
                    <a:pt x="342806" y="171403"/>
                  </a:cubicBezTo>
                  <a:cubicBezTo>
                    <a:pt x="248143" y="171403"/>
                    <a:pt x="171403" y="248143"/>
                    <a:pt x="171403" y="342806"/>
                  </a:cubicBez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圆: 空心 332">
              <a:extLst>
                <a:ext uri="{FF2B5EF4-FFF2-40B4-BE49-F238E27FC236}">
                  <a16:creationId xmlns:a16="http://schemas.microsoft.com/office/drawing/2014/main" id="{16E2011B-3FDD-49B2-87F5-E3F52D275970}"/>
                </a:ext>
              </a:extLst>
            </p:cNvPr>
            <p:cNvSpPr/>
            <p:nvPr/>
          </p:nvSpPr>
          <p:spPr>
            <a:xfrm>
              <a:off x="3535846" y="760548"/>
              <a:ext cx="685612" cy="685612"/>
            </a:xfrm>
            <a:custGeom>
              <a:avLst/>
              <a:gdLst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  <a:gd name="connsiteX0" fmla="*/ 3533775 w 4219387"/>
                <a:gd name="connsiteY0" fmla="*/ 1152431 h 1495237"/>
                <a:gd name="connsiteX1" fmla="*/ 0 w 4219387"/>
                <a:gd name="connsiteY1" fmla="*/ 0 h 1495237"/>
                <a:gd name="connsiteX2" fmla="*/ 3876581 w 4219387"/>
                <a:gd name="connsiteY2" fmla="*/ 809625 h 1495237"/>
                <a:gd name="connsiteX3" fmla="*/ 4219387 w 4219387"/>
                <a:gd name="connsiteY3" fmla="*/ 1152431 h 1495237"/>
                <a:gd name="connsiteX4" fmla="*/ 3876581 w 4219387"/>
                <a:gd name="connsiteY4" fmla="*/ 1495237 h 1495237"/>
                <a:gd name="connsiteX5" fmla="*/ 3533775 w 4219387"/>
                <a:gd name="connsiteY5" fmla="*/ 1152431 h 1495237"/>
                <a:gd name="connsiteX6" fmla="*/ 3705178 w 4219387"/>
                <a:gd name="connsiteY6" fmla="*/ 1152431 h 1495237"/>
                <a:gd name="connsiteX7" fmla="*/ 3876581 w 4219387"/>
                <a:gd name="connsiteY7" fmla="*/ 1323834 h 1495237"/>
                <a:gd name="connsiteX8" fmla="*/ 4047984 w 4219387"/>
                <a:gd name="connsiteY8" fmla="*/ 1152431 h 1495237"/>
                <a:gd name="connsiteX9" fmla="*/ 3876581 w 4219387"/>
                <a:gd name="connsiteY9" fmla="*/ 981028 h 1495237"/>
                <a:gd name="connsiteX10" fmla="*/ 3705178 w 4219387"/>
                <a:gd name="connsiteY10" fmla="*/ 1152431 h 1495237"/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5612" h="685612">
                  <a:moveTo>
                    <a:pt x="0" y="342806"/>
                  </a:moveTo>
                  <a:cubicBezTo>
                    <a:pt x="0" y="153479"/>
                    <a:pt x="153479" y="0"/>
                    <a:pt x="342806" y="0"/>
                  </a:cubicBezTo>
                  <a:cubicBezTo>
                    <a:pt x="532133" y="0"/>
                    <a:pt x="685612" y="153479"/>
                    <a:pt x="685612" y="342806"/>
                  </a:cubicBezTo>
                  <a:cubicBezTo>
                    <a:pt x="685612" y="532133"/>
                    <a:pt x="532133" y="685612"/>
                    <a:pt x="342806" y="685612"/>
                  </a:cubicBezTo>
                  <a:cubicBezTo>
                    <a:pt x="153479" y="685612"/>
                    <a:pt x="0" y="532133"/>
                    <a:pt x="0" y="342806"/>
                  </a:cubicBezTo>
                  <a:close/>
                  <a:moveTo>
                    <a:pt x="171403" y="342806"/>
                  </a:moveTo>
                  <a:cubicBezTo>
                    <a:pt x="171403" y="437469"/>
                    <a:pt x="248143" y="514209"/>
                    <a:pt x="342806" y="514209"/>
                  </a:cubicBezTo>
                  <a:cubicBezTo>
                    <a:pt x="437469" y="514209"/>
                    <a:pt x="514209" y="437469"/>
                    <a:pt x="514209" y="342806"/>
                  </a:cubicBezTo>
                  <a:cubicBezTo>
                    <a:pt x="514209" y="248143"/>
                    <a:pt x="437469" y="171403"/>
                    <a:pt x="342806" y="171403"/>
                  </a:cubicBezTo>
                  <a:cubicBezTo>
                    <a:pt x="248143" y="171403"/>
                    <a:pt x="171403" y="248143"/>
                    <a:pt x="171403" y="342806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38" name="圆: 空心 332">
              <a:extLst>
                <a:ext uri="{FF2B5EF4-FFF2-40B4-BE49-F238E27FC236}">
                  <a16:creationId xmlns:a16="http://schemas.microsoft.com/office/drawing/2014/main" id="{9DE84378-53F7-4C40-A289-27B7E598CC85}"/>
                </a:ext>
              </a:extLst>
            </p:cNvPr>
            <p:cNvSpPr/>
            <p:nvPr/>
          </p:nvSpPr>
          <p:spPr>
            <a:xfrm>
              <a:off x="3537917" y="711472"/>
              <a:ext cx="685612" cy="685612"/>
            </a:xfrm>
            <a:custGeom>
              <a:avLst/>
              <a:gdLst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  <a:gd name="connsiteX0" fmla="*/ 3533775 w 4219387"/>
                <a:gd name="connsiteY0" fmla="*/ 1152431 h 1495237"/>
                <a:gd name="connsiteX1" fmla="*/ 0 w 4219387"/>
                <a:gd name="connsiteY1" fmla="*/ 0 h 1495237"/>
                <a:gd name="connsiteX2" fmla="*/ 3876581 w 4219387"/>
                <a:gd name="connsiteY2" fmla="*/ 809625 h 1495237"/>
                <a:gd name="connsiteX3" fmla="*/ 4219387 w 4219387"/>
                <a:gd name="connsiteY3" fmla="*/ 1152431 h 1495237"/>
                <a:gd name="connsiteX4" fmla="*/ 3876581 w 4219387"/>
                <a:gd name="connsiteY4" fmla="*/ 1495237 h 1495237"/>
                <a:gd name="connsiteX5" fmla="*/ 3533775 w 4219387"/>
                <a:gd name="connsiteY5" fmla="*/ 1152431 h 1495237"/>
                <a:gd name="connsiteX6" fmla="*/ 3705178 w 4219387"/>
                <a:gd name="connsiteY6" fmla="*/ 1152431 h 1495237"/>
                <a:gd name="connsiteX7" fmla="*/ 3876581 w 4219387"/>
                <a:gd name="connsiteY7" fmla="*/ 1323834 h 1495237"/>
                <a:gd name="connsiteX8" fmla="*/ 4047984 w 4219387"/>
                <a:gd name="connsiteY8" fmla="*/ 1152431 h 1495237"/>
                <a:gd name="connsiteX9" fmla="*/ 3876581 w 4219387"/>
                <a:gd name="connsiteY9" fmla="*/ 981028 h 1495237"/>
                <a:gd name="connsiteX10" fmla="*/ 3705178 w 4219387"/>
                <a:gd name="connsiteY10" fmla="*/ 1152431 h 1495237"/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5612" h="685612">
                  <a:moveTo>
                    <a:pt x="0" y="342806"/>
                  </a:moveTo>
                  <a:cubicBezTo>
                    <a:pt x="0" y="153479"/>
                    <a:pt x="153479" y="0"/>
                    <a:pt x="342806" y="0"/>
                  </a:cubicBezTo>
                  <a:cubicBezTo>
                    <a:pt x="532133" y="0"/>
                    <a:pt x="685612" y="153479"/>
                    <a:pt x="685612" y="342806"/>
                  </a:cubicBezTo>
                  <a:cubicBezTo>
                    <a:pt x="685612" y="532133"/>
                    <a:pt x="532133" y="685612"/>
                    <a:pt x="342806" y="685612"/>
                  </a:cubicBezTo>
                  <a:cubicBezTo>
                    <a:pt x="153479" y="685612"/>
                    <a:pt x="0" y="532133"/>
                    <a:pt x="0" y="342806"/>
                  </a:cubicBezTo>
                  <a:close/>
                  <a:moveTo>
                    <a:pt x="171403" y="342806"/>
                  </a:moveTo>
                  <a:cubicBezTo>
                    <a:pt x="171403" y="437469"/>
                    <a:pt x="248143" y="514209"/>
                    <a:pt x="342806" y="514209"/>
                  </a:cubicBezTo>
                  <a:cubicBezTo>
                    <a:pt x="437469" y="514209"/>
                    <a:pt x="514209" y="437469"/>
                    <a:pt x="514209" y="342806"/>
                  </a:cubicBezTo>
                  <a:cubicBezTo>
                    <a:pt x="514209" y="248143"/>
                    <a:pt x="437469" y="171403"/>
                    <a:pt x="342806" y="171403"/>
                  </a:cubicBezTo>
                  <a:cubicBezTo>
                    <a:pt x="248143" y="171403"/>
                    <a:pt x="171403" y="248143"/>
                    <a:pt x="171403" y="342806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39" name="圆: 空心 332">
              <a:extLst>
                <a:ext uri="{FF2B5EF4-FFF2-40B4-BE49-F238E27FC236}">
                  <a16:creationId xmlns:a16="http://schemas.microsoft.com/office/drawing/2014/main" id="{FF1F3C9A-E154-4DCE-AF0E-DD432755D74F}"/>
                </a:ext>
              </a:extLst>
            </p:cNvPr>
            <p:cNvSpPr/>
            <p:nvPr/>
          </p:nvSpPr>
          <p:spPr>
            <a:xfrm>
              <a:off x="3539988" y="662396"/>
              <a:ext cx="685612" cy="685612"/>
            </a:xfrm>
            <a:custGeom>
              <a:avLst/>
              <a:gdLst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  <a:gd name="connsiteX0" fmla="*/ 3533775 w 4219387"/>
                <a:gd name="connsiteY0" fmla="*/ 1152431 h 1495237"/>
                <a:gd name="connsiteX1" fmla="*/ 0 w 4219387"/>
                <a:gd name="connsiteY1" fmla="*/ 0 h 1495237"/>
                <a:gd name="connsiteX2" fmla="*/ 3876581 w 4219387"/>
                <a:gd name="connsiteY2" fmla="*/ 809625 h 1495237"/>
                <a:gd name="connsiteX3" fmla="*/ 4219387 w 4219387"/>
                <a:gd name="connsiteY3" fmla="*/ 1152431 h 1495237"/>
                <a:gd name="connsiteX4" fmla="*/ 3876581 w 4219387"/>
                <a:gd name="connsiteY4" fmla="*/ 1495237 h 1495237"/>
                <a:gd name="connsiteX5" fmla="*/ 3533775 w 4219387"/>
                <a:gd name="connsiteY5" fmla="*/ 1152431 h 1495237"/>
                <a:gd name="connsiteX6" fmla="*/ 3705178 w 4219387"/>
                <a:gd name="connsiteY6" fmla="*/ 1152431 h 1495237"/>
                <a:gd name="connsiteX7" fmla="*/ 3876581 w 4219387"/>
                <a:gd name="connsiteY7" fmla="*/ 1323834 h 1495237"/>
                <a:gd name="connsiteX8" fmla="*/ 4047984 w 4219387"/>
                <a:gd name="connsiteY8" fmla="*/ 1152431 h 1495237"/>
                <a:gd name="connsiteX9" fmla="*/ 3876581 w 4219387"/>
                <a:gd name="connsiteY9" fmla="*/ 981028 h 1495237"/>
                <a:gd name="connsiteX10" fmla="*/ 3705178 w 4219387"/>
                <a:gd name="connsiteY10" fmla="*/ 1152431 h 1495237"/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5612" h="685612">
                  <a:moveTo>
                    <a:pt x="0" y="342806"/>
                  </a:moveTo>
                  <a:cubicBezTo>
                    <a:pt x="0" y="153479"/>
                    <a:pt x="153479" y="0"/>
                    <a:pt x="342806" y="0"/>
                  </a:cubicBezTo>
                  <a:cubicBezTo>
                    <a:pt x="532133" y="0"/>
                    <a:pt x="685612" y="153479"/>
                    <a:pt x="685612" y="342806"/>
                  </a:cubicBezTo>
                  <a:cubicBezTo>
                    <a:pt x="685612" y="532133"/>
                    <a:pt x="532133" y="685612"/>
                    <a:pt x="342806" y="685612"/>
                  </a:cubicBezTo>
                  <a:cubicBezTo>
                    <a:pt x="153479" y="685612"/>
                    <a:pt x="0" y="532133"/>
                    <a:pt x="0" y="342806"/>
                  </a:cubicBezTo>
                  <a:close/>
                  <a:moveTo>
                    <a:pt x="171403" y="342806"/>
                  </a:moveTo>
                  <a:cubicBezTo>
                    <a:pt x="171403" y="437469"/>
                    <a:pt x="248143" y="514209"/>
                    <a:pt x="342806" y="514209"/>
                  </a:cubicBezTo>
                  <a:cubicBezTo>
                    <a:pt x="437469" y="514209"/>
                    <a:pt x="514209" y="437469"/>
                    <a:pt x="514209" y="342806"/>
                  </a:cubicBezTo>
                  <a:cubicBezTo>
                    <a:pt x="514209" y="248143"/>
                    <a:pt x="437469" y="171403"/>
                    <a:pt x="342806" y="171403"/>
                  </a:cubicBezTo>
                  <a:cubicBezTo>
                    <a:pt x="248143" y="171403"/>
                    <a:pt x="171403" y="248143"/>
                    <a:pt x="171403" y="342806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40" name="圆: 空心 333">
              <a:extLst>
                <a:ext uri="{FF2B5EF4-FFF2-40B4-BE49-F238E27FC236}">
                  <a16:creationId xmlns:a16="http://schemas.microsoft.com/office/drawing/2014/main" id="{BEEAC953-7E92-49FC-9C3A-182A48FEFE42}"/>
                </a:ext>
              </a:extLst>
            </p:cNvPr>
            <p:cNvSpPr/>
            <p:nvPr/>
          </p:nvSpPr>
          <p:spPr>
            <a:xfrm>
              <a:off x="3542059" y="613319"/>
              <a:ext cx="685612" cy="685612"/>
            </a:xfrm>
            <a:custGeom>
              <a:avLst/>
              <a:gdLst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  <a:gd name="connsiteX0" fmla="*/ 3514707 w 4200319"/>
                <a:gd name="connsiteY0" fmla="*/ 857733 h 1200539"/>
                <a:gd name="connsiteX1" fmla="*/ 0 w 4200319"/>
                <a:gd name="connsiteY1" fmla="*/ 0 h 1200539"/>
                <a:gd name="connsiteX2" fmla="*/ 3857513 w 4200319"/>
                <a:gd name="connsiteY2" fmla="*/ 514927 h 1200539"/>
                <a:gd name="connsiteX3" fmla="*/ 4200319 w 4200319"/>
                <a:gd name="connsiteY3" fmla="*/ 857733 h 1200539"/>
                <a:gd name="connsiteX4" fmla="*/ 3857513 w 4200319"/>
                <a:gd name="connsiteY4" fmla="*/ 1200539 h 1200539"/>
                <a:gd name="connsiteX5" fmla="*/ 3514707 w 4200319"/>
                <a:gd name="connsiteY5" fmla="*/ 857733 h 1200539"/>
                <a:gd name="connsiteX6" fmla="*/ 3686110 w 4200319"/>
                <a:gd name="connsiteY6" fmla="*/ 857733 h 1200539"/>
                <a:gd name="connsiteX7" fmla="*/ 3857513 w 4200319"/>
                <a:gd name="connsiteY7" fmla="*/ 1029136 h 1200539"/>
                <a:gd name="connsiteX8" fmla="*/ 4028916 w 4200319"/>
                <a:gd name="connsiteY8" fmla="*/ 857733 h 1200539"/>
                <a:gd name="connsiteX9" fmla="*/ 3857513 w 4200319"/>
                <a:gd name="connsiteY9" fmla="*/ 686330 h 1200539"/>
                <a:gd name="connsiteX10" fmla="*/ 3686110 w 4200319"/>
                <a:gd name="connsiteY10" fmla="*/ 857733 h 1200539"/>
                <a:gd name="connsiteX0" fmla="*/ 0 w 685612"/>
                <a:gd name="connsiteY0" fmla="*/ 342806 h 685612"/>
                <a:gd name="connsiteX1" fmla="*/ 342806 w 685612"/>
                <a:gd name="connsiteY1" fmla="*/ 0 h 685612"/>
                <a:gd name="connsiteX2" fmla="*/ 685612 w 685612"/>
                <a:gd name="connsiteY2" fmla="*/ 342806 h 685612"/>
                <a:gd name="connsiteX3" fmla="*/ 342806 w 685612"/>
                <a:gd name="connsiteY3" fmla="*/ 685612 h 685612"/>
                <a:gd name="connsiteX4" fmla="*/ 0 w 685612"/>
                <a:gd name="connsiteY4" fmla="*/ 342806 h 685612"/>
                <a:gd name="connsiteX5" fmla="*/ 171403 w 685612"/>
                <a:gd name="connsiteY5" fmla="*/ 342806 h 685612"/>
                <a:gd name="connsiteX6" fmla="*/ 342806 w 685612"/>
                <a:gd name="connsiteY6" fmla="*/ 514209 h 685612"/>
                <a:gd name="connsiteX7" fmla="*/ 514209 w 685612"/>
                <a:gd name="connsiteY7" fmla="*/ 342806 h 685612"/>
                <a:gd name="connsiteX8" fmla="*/ 342806 w 685612"/>
                <a:gd name="connsiteY8" fmla="*/ 171403 h 685612"/>
                <a:gd name="connsiteX9" fmla="*/ 171403 w 685612"/>
                <a:gd name="connsiteY9" fmla="*/ 342806 h 68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5612" h="685612">
                  <a:moveTo>
                    <a:pt x="0" y="342806"/>
                  </a:moveTo>
                  <a:cubicBezTo>
                    <a:pt x="0" y="153479"/>
                    <a:pt x="153479" y="0"/>
                    <a:pt x="342806" y="0"/>
                  </a:cubicBezTo>
                  <a:cubicBezTo>
                    <a:pt x="532133" y="0"/>
                    <a:pt x="685612" y="153479"/>
                    <a:pt x="685612" y="342806"/>
                  </a:cubicBezTo>
                  <a:cubicBezTo>
                    <a:pt x="685612" y="532133"/>
                    <a:pt x="532133" y="685612"/>
                    <a:pt x="342806" y="685612"/>
                  </a:cubicBezTo>
                  <a:cubicBezTo>
                    <a:pt x="153479" y="685612"/>
                    <a:pt x="0" y="532133"/>
                    <a:pt x="0" y="342806"/>
                  </a:cubicBezTo>
                  <a:close/>
                  <a:moveTo>
                    <a:pt x="171403" y="342806"/>
                  </a:moveTo>
                  <a:cubicBezTo>
                    <a:pt x="171403" y="437469"/>
                    <a:pt x="248143" y="514209"/>
                    <a:pt x="342806" y="514209"/>
                  </a:cubicBezTo>
                  <a:cubicBezTo>
                    <a:pt x="437469" y="514209"/>
                    <a:pt x="514209" y="437469"/>
                    <a:pt x="514209" y="342806"/>
                  </a:cubicBezTo>
                  <a:cubicBezTo>
                    <a:pt x="514209" y="248143"/>
                    <a:pt x="437469" y="171403"/>
                    <a:pt x="342806" y="171403"/>
                  </a:cubicBezTo>
                  <a:cubicBezTo>
                    <a:pt x="248143" y="171403"/>
                    <a:pt x="171403" y="248143"/>
                    <a:pt x="171403" y="342806"/>
                  </a:cubicBezTo>
                  <a:close/>
                </a:path>
              </a:pathLst>
            </a:custGeom>
            <a:pattFill prst="pct80">
              <a:fgClr>
                <a:schemeClr val="accent3"/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E8B5ACF1-913D-428B-9A43-6335A0530E5D}"/>
              </a:ext>
            </a:extLst>
          </p:cNvPr>
          <p:cNvGrpSpPr/>
          <p:nvPr userDrawn="1"/>
        </p:nvGrpSpPr>
        <p:grpSpPr>
          <a:xfrm rot="4940600" flipH="1">
            <a:off x="1177298" y="4940953"/>
            <a:ext cx="461801" cy="356877"/>
            <a:chOff x="4638483" y="948851"/>
            <a:chExt cx="461801" cy="356877"/>
          </a:xfrm>
        </p:grpSpPr>
        <p:sp>
          <p:nvSpPr>
            <p:cNvPr id="33" name="等腰三角形 357">
              <a:extLst>
                <a:ext uri="{FF2B5EF4-FFF2-40B4-BE49-F238E27FC236}">
                  <a16:creationId xmlns:a16="http://schemas.microsoft.com/office/drawing/2014/main" id="{EE815227-E071-43A9-AF58-6811FADEE598}"/>
                </a:ext>
              </a:extLst>
            </p:cNvPr>
            <p:cNvSpPr/>
            <p:nvPr/>
          </p:nvSpPr>
          <p:spPr>
            <a:xfrm>
              <a:off x="4638483" y="1028700"/>
              <a:ext cx="321352" cy="277028"/>
            </a:xfrm>
            <a:custGeom>
              <a:avLst/>
              <a:gdLst>
                <a:gd name="connsiteX0" fmla="*/ 0 w 321352"/>
                <a:gd name="connsiteY0" fmla="*/ 277028 h 277028"/>
                <a:gd name="connsiteX1" fmla="*/ 160676 w 321352"/>
                <a:gd name="connsiteY1" fmla="*/ 0 h 277028"/>
                <a:gd name="connsiteX2" fmla="*/ 321352 w 321352"/>
                <a:gd name="connsiteY2" fmla="*/ 277028 h 277028"/>
                <a:gd name="connsiteX3" fmla="*/ 0 w 321352"/>
                <a:gd name="connsiteY3" fmla="*/ 277028 h 277028"/>
                <a:gd name="connsiteX0" fmla="*/ 4638483 w 4959835"/>
                <a:gd name="connsiteY0" fmla="*/ 1305728 h 1305728"/>
                <a:gd name="connsiteX1" fmla="*/ 0 w 4959835"/>
                <a:gd name="connsiteY1" fmla="*/ 0 h 1305728"/>
                <a:gd name="connsiteX2" fmla="*/ 4799159 w 4959835"/>
                <a:gd name="connsiteY2" fmla="*/ 1028700 h 1305728"/>
                <a:gd name="connsiteX3" fmla="*/ 4959835 w 4959835"/>
                <a:gd name="connsiteY3" fmla="*/ 1305728 h 1305728"/>
                <a:gd name="connsiteX4" fmla="*/ 4638483 w 4959835"/>
                <a:gd name="connsiteY4" fmla="*/ 1305728 h 1305728"/>
                <a:gd name="connsiteX0" fmla="*/ 0 w 321352"/>
                <a:gd name="connsiteY0" fmla="*/ 277028 h 277028"/>
                <a:gd name="connsiteX1" fmla="*/ 160676 w 321352"/>
                <a:gd name="connsiteY1" fmla="*/ 0 h 277028"/>
                <a:gd name="connsiteX2" fmla="*/ 321352 w 321352"/>
                <a:gd name="connsiteY2" fmla="*/ 277028 h 277028"/>
                <a:gd name="connsiteX3" fmla="*/ 0 w 321352"/>
                <a:gd name="connsiteY3" fmla="*/ 277028 h 277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352" h="277028">
                  <a:moveTo>
                    <a:pt x="0" y="277028"/>
                  </a:moveTo>
                  <a:lnTo>
                    <a:pt x="160676" y="0"/>
                  </a:lnTo>
                  <a:lnTo>
                    <a:pt x="321352" y="277028"/>
                  </a:lnTo>
                  <a:lnTo>
                    <a:pt x="0" y="277028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F16AEFB8-E561-4B2B-AC65-79294D3415F5}"/>
                </a:ext>
              </a:extLst>
            </p:cNvPr>
            <p:cNvSpPr/>
            <p:nvPr/>
          </p:nvSpPr>
          <p:spPr>
            <a:xfrm>
              <a:off x="4711768" y="988679"/>
              <a:ext cx="321352" cy="277028"/>
            </a:xfrm>
            <a:custGeom>
              <a:avLst/>
              <a:gdLst/>
              <a:ahLst/>
              <a:cxnLst/>
              <a:rect l="0" t="0" r="0" b="0"/>
              <a:pathLst>
                <a:path w="321353" h="277028">
                  <a:moveTo>
                    <a:pt x="0" y="277027"/>
                  </a:moveTo>
                  <a:lnTo>
                    <a:pt x="160677" y="0"/>
                  </a:lnTo>
                  <a:lnTo>
                    <a:pt x="321352" y="277027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5" name="等腰三角形 358">
              <a:extLst>
                <a:ext uri="{FF2B5EF4-FFF2-40B4-BE49-F238E27FC236}">
                  <a16:creationId xmlns:a16="http://schemas.microsoft.com/office/drawing/2014/main" id="{1C9BAFFE-4F45-4AF9-8B59-720EC8431CC2}"/>
                </a:ext>
              </a:extLst>
            </p:cNvPr>
            <p:cNvSpPr/>
            <p:nvPr/>
          </p:nvSpPr>
          <p:spPr>
            <a:xfrm>
              <a:off x="4778932" y="948851"/>
              <a:ext cx="321352" cy="277028"/>
            </a:xfrm>
            <a:custGeom>
              <a:avLst/>
              <a:gdLst>
                <a:gd name="connsiteX0" fmla="*/ 0 w 321352"/>
                <a:gd name="connsiteY0" fmla="*/ 277028 h 277028"/>
                <a:gd name="connsiteX1" fmla="*/ 160676 w 321352"/>
                <a:gd name="connsiteY1" fmla="*/ 0 h 277028"/>
                <a:gd name="connsiteX2" fmla="*/ 321352 w 321352"/>
                <a:gd name="connsiteY2" fmla="*/ 277028 h 277028"/>
                <a:gd name="connsiteX3" fmla="*/ 0 w 321352"/>
                <a:gd name="connsiteY3" fmla="*/ 277028 h 277028"/>
                <a:gd name="connsiteX0" fmla="*/ 4591076 w 4912428"/>
                <a:gd name="connsiteY0" fmla="*/ 1141943 h 1141943"/>
                <a:gd name="connsiteX1" fmla="*/ 0 w 4912428"/>
                <a:gd name="connsiteY1" fmla="*/ 0 h 1141943"/>
                <a:gd name="connsiteX2" fmla="*/ 4751752 w 4912428"/>
                <a:gd name="connsiteY2" fmla="*/ 864915 h 1141943"/>
                <a:gd name="connsiteX3" fmla="*/ 4912428 w 4912428"/>
                <a:gd name="connsiteY3" fmla="*/ 1141943 h 1141943"/>
                <a:gd name="connsiteX4" fmla="*/ 4591076 w 4912428"/>
                <a:gd name="connsiteY4" fmla="*/ 1141943 h 1141943"/>
                <a:gd name="connsiteX0" fmla="*/ 0 w 321352"/>
                <a:gd name="connsiteY0" fmla="*/ 277028 h 277028"/>
                <a:gd name="connsiteX1" fmla="*/ 160676 w 321352"/>
                <a:gd name="connsiteY1" fmla="*/ 0 h 277028"/>
                <a:gd name="connsiteX2" fmla="*/ 321352 w 321352"/>
                <a:gd name="connsiteY2" fmla="*/ 277028 h 277028"/>
                <a:gd name="connsiteX3" fmla="*/ 0 w 321352"/>
                <a:gd name="connsiteY3" fmla="*/ 277028 h 277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352" h="277028">
                  <a:moveTo>
                    <a:pt x="0" y="277028"/>
                  </a:moveTo>
                  <a:lnTo>
                    <a:pt x="160676" y="0"/>
                  </a:lnTo>
                  <a:lnTo>
                    <a:pt x="321352" y="277028"/>
                  </a:lnTo>
                  <a:lnTo>
                    <a:pt x="0" y="277028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26978C1F-5690-4225-A93E-4A86C6823F84}"/>
              </a:ext>
            </a:extLst>
          </p:cNvPr>
          <p:cNvGrpSpPr/>
          <p:nvPr userDrawn="1"/>
        </p:nvGrpSpPr>
        <p:grpSpPr>
          <a:xfrm rot="18831751" flipH="1">
            <a:off x="2186691" y="1074108"/>
            <a:ext cx="682166" cy="603819"/>
            <a:chOff x="3371993" y="891418"/>
            <a:chExt cx="761793" cy="674301"/>
          </a:xfrm>
        </p:grpSpPr>
        <p:sp>
          <p:nvSpPr>
            <p:cNvPr id="29" name="六边形 400">
              <a:extLst>
                <a:ext uri="{FF2B5EF4-FFF2-40B4-BE49-F238E27FC236}">
                  <a16:creationId xmlns:a16="http://schemas.microsoft.com/office/drawing/2014/main" id="{61B88745-FAB5-4038-B6F2-A247BC613F36}"/>
                </a:ext>
              </a:extLst>
            </p:cNvPr>
            <p:cNvSpPr/>
            <p:nvPr/>
          </p:nvSpPr>
          <p:spPr>
            <a:xfrm>
              <a:off x="3510844" y="1028700"/>
              <a:ext cx="622942" cy="537019"/>
            </a:xfrm>
            <a:custGeom>
              <a:avLst/>
              <a:gdLst>
                <a:gd name="connsiteX0" fmla="*/ 0 w 622942"/>
                <a:gd name="connsiteY0" fmla="*/ 268510 h 537019"/>
                <a:gd name="connsiteX1" fmla="*/ 134255 w 622942"/>
                <a:gd name="connsiteY1" fmla="*/ 0 h 537019"/>
                <a:gd name="connsiteX2" fmla="*/ 488687 w 622942"/>
                <a:gd name="connsiteY2" fmla="*/ 0 h 537019"/>
                <a:gd name="connsiteX3" fmla="*/ 622942 w 622942"/>
                <a:gd name="connsiteY3" fmla="*/ 268510 h 537019"/>
                <a:gd name="connsiteX4" fmla="*/ 488687 w 622942"/>
                <a:gd name="connsiteY4" fmla="*/ 537019 h 537019"/>
                <a:gd name="connsiteX5" fmla="*/ 134255 w 622942"/>
                <a:gd name="connsiteY5" fmla="*/ 537019 h 537019"/>
                <a:gd name="connsiteX6" fmla="*/ 0 w 622942"/>
                <a:gd name="connsiteY6" fmla="*/ 268510 h 537019"/>
                <a:gd name="connsiteX0" fmla="*/ 3510844 w 4133786"/>
                <a:gd name="connsiteY0" fmla="*/ 1297210 h 1565719"/>
                <a:gd name="connsiteX1" fmla="*/ 0 w 4133786"/>
                <a:gd name="connsiteY1" fmla="*/ 0 h 1565719"/>
                <a:gd name="connsiteX2" fmla="*/ 3645099 w 4133786"/>
                <a:gd name="connsiteY2" fmla="*/ 1028700 h 1565719"/>
                <a:gd name="connsiteX3" fmla="*/ 3999531 w 4133786"/>
                <a:gd name="connsiteY3" fmla="*/ 1028700 h 1565719"/>
                <a:gd name="connsiteX4" fmla="*/ 4133786 w 4133786"/>
                <a:gd name="connsiteY4" fmla="*/ 1297210 h 1565719"/>
                <a:gd name="connsiteX5" fmla="*/ 3999531 w 4133786"/>
                <a:gd name="connsiteY5" fmla="*/ 1565719 h 1565719"/>
                <a:gd name="connsiteX6" fmla="*/ 3645099 w 4133786"/>
                <a:gd name="connsiteY6" fmla="*/ 1565719 h 1565719"/>
                <a:gd name="connsiteX7" fmla="*/ 3510844 w 4133786"/>
                <a:gd name="connsiteY7" fmla="*/ 1297210 h 1565719"/>
                <a:gd name="connsiteX0" fmla="*/ 0 w 622942"/>
                <a:gd name="connsiteY0" fmla="*/ 268510 h 537019"/>
                <a:gd name="connsiteX1" fmla="*/ 134255 w 622942"/>
                <a:gd name="connsiteY1" fmla="*/ 0 h 537019"/>
                <a:gd name="connsiteX2" fmla="*/ 488687 w 622942"/>
                <a:gd name="connsiteY2" fmla="*/ 0 h 537019"/>
                <a:gd name="connsiteX3" fmla="*/ 622942 w 622942"/>
                <a:gd name="connsiteY3" fmla="*/ 268510 h 537019"/>
                <a:gd name="connsiteX4" fmla="*/ 488687 w 622942"/>
                <a:gd name="connsiteY4" fmla="*/ 537019 h 537019"/>
                <a:gd name="connsiteX5" fmla="*/ 134255 w 622942"/>
                <a:gd name="connsiteY5" fmla="*/ 537019 h 537019"/>
                <a:gd name="connsiteX6" fmla="*/ 0 w 622942"/>
                <a:gd name="connsiteY6" fmla="*/ 268510 h 537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2942" h="537019">
                  <a:moveTo>
                    <a:pt x="0" y="268510"/>
                  </a:moveTo>
                  <a:lnTo>
                    <a:pt x="134255" y="0"/>
                  </a:lnTo>
                  <a:lnTo>
                    <a:pt x="488687" y="0"/>
                  </a:lnTo>
                  <a:lnTo>
                    <a:pt x="622942" y="268510"/>
                  </a:lnTo>
                  <a:lnTo>
                    <a:pt x="488687" y="537019"/>
                  </a:lnTo>
                  <a:lnTo>
                    <a:pt x="134255" y="537019"/>
                  </a:lnTo>
                  <a:lnTo>
                    <a:pt x="0" y="268510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791CB04-FC4C-4ED1-AB11-11E9C9D536D3}"/>
                </a:ext>
              </a:extLst>
            </p:cNvPr>
            <p:cNvSpPr/>
            <p:nvPr/>
          </p:nvSpPr>
          <p:spPr>
            <a:xfrm>
              <a:off x="3464560" y="982940"/>
              <a:ext cx="622942" cy="537019"/>
            </a:xfrm>
            <a:custGeom>
              <a:avLst/>
              <a:gdLst/>
              <a:ahLst/>
              <a:cxnLst/>
              <a:rect l="0" t="0" r="0" b="0"/>
              <a:pathLst>
                <a:path w="622943" h="537020">
                  <a:moveTo>
                    <a:pt x="0" y="268510"/>
                  </a:moveTo>
                  <a:lnTo>
                    <a:pt x="134255" y="0"/>
                  </a:lnTo>
                  <a:lnTo>
                    <a:pt x="488687" y="0"/>
                  </a:lnTo>
                  <a:lnTo>
                    <a:pt x="622942" y="268510"/>
                  </a:lnTo>
                  <a:lnTo>
                    <a:pt x="488687" y="537019"/>
                  </a:lnTo>
                  <a:lnTo>
                    <a:pt x="134255" y="537019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6EBF9CD-96A6-47AF-9A21-B3C9CC471C87}"/>
                </a:ext>
              </a:extLst>
            </p:cNvPr>
            <p:cNvSpPr/>
            <p:nvPr/>
          </p:nvSpPr>
          <p:spPr>
            <a:xfrm>
              <a:off x="3418277" y="937180"/>
              <a:ext cx="622942" cy="537019"/>
            </a:xfrm>
            <a:custGeom>
              <a:avLst/>
              <a:gdLst/>
              <a:ahLst/>
              <a:cxnLst/>
              <a:rect l="0" t="0" r="0" b="0"/>
              <a:pathLst>
                <a:path w="622942" h="537020">
                  <a:moveTo>
                    <a:pt x="0" y="268510"/>
                  </a:moveTo>
                  <a:lnTo>
                    <a:pt x="134255" y="0"/>
                  </a:lnTo>
                  <a:lnTo>
                    <a:pt x="488686" y="0"/>
                  </a:lnTo>
                  <a:lnTo>
                    <a:pt x="622941" y="268510"/>
                  </a:lnTo>
                  <a:lnTo>
                    <a:pt x="488686" y="537019"/>
                  </a:lnTo>
                  <a:lnTo>
                    <a:pt x="134255" y="537019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2" name="六边形 401">
              <a:extLst>
                <a:ext uri="{FF2B5EF4-FFF2-40B4-BE49-F238E27FC236}">
                  <a16:creationId xmlns:a16="http://schemas.microsoft.com/office/drawing/2014/main" id="{779AA1D8-4EB9-474D-B473-5E85441CAAAE}"/>
                </a:ext>
              </a:extLst>
            </p:cNvPr>
            <p:cNvSpPr/>
            <p:nvPr/>
          </p:nvSpPr>
          <p:spPr>
            <a:xfrm>
              <a:off x="3371993" y="891418"/>
              <a:ext cx="622942" cy="537019"/>
            </a:xfrm>
            <a:custGeom>
              <a:avLst/>
              <a:gdLst>
                <a:gd name="connsiteX0" fmla="*/ 0 w 622942"/>
                <a:gd name="connsiteY0" fmla="*/ 268510 h 537019"/>
                <a:gd name="connsiteX1" fmla="*/ 134255 w 622942"/>
                <a:gd name="connsiteY1" fmla="*/ 0 h 537019"/>
                <a:gd name="connsiteX2" fmla="*/ 488687 w 622942"/>
                <a:gd name="connsiteY2" fmla="*/ 0 h 537019"/>
                <a:gd name="connsiteX3" fmla="*/ 622942 w 622942"/>
                <a:gd name="connsiteY3" fmla="*/ 268510 h 537019"/>
                <a:gd name="connsiteX4" fmla="*/ 488687 w 622942"/>
                <a:gd name="connsiteY4" fmla="*/ 537019 h 537019"/>
                <a:gd name="connsiteX5" fmla="*/ 134255 w 622942"/>
                <a:gd name="connsiteY5" fmla="*/ 537019 h 537019"/>
                <a:gd name="connsiteX6" fmla="*/ 0 w 622942"/>
                <a:gd name="connsiteY6" fmla="*/ 268510 h 537019"/>
                <a:gd name="connsiteX0" fmla="*/ 3371993 w 3994935"/>
                <a:gd name="connsiteY0" fmla="*/ 1159928 h 1428437"/>
                <a:gd name="connsiteX1" fmla="*/ 0 w 3994935"/>
                <a:gd name="connsiteY1" fmla="*/ 0 h 1428437"/>
                <a:gd name="connsiteX2" fmla="*/ 3506248 w 3994935"/>
                <a:gd name="connsiteY2" fmla="*/ 891418 h 1428437"/>
                <a:gd name="connsiteX3" fmla="*/ 3860680 w 3994935"/>
                <a:gd name="connsiteY3" fmla="*/ 891418 h 1428437"/>
                <a:gd name="connsiteX4" fmla="*/ 3994935 w 3994935"/>
                <a:gd name="connsiteY4" fmla="*/ 1159928 h 1428437"/>
                <a:gd name="connsiteX5" fmla="*/ 3860680 w 3994935"/>
                <a:gd name="connsiteY5" fmla="*/ 1428437 h 1428437"/>
                <a:gd name="connsiteX6" fmla="*/ 3506248 w 3994935"/>
                <a:gd name="connsiteY6" fmla="*/ 1428437 h 1428437"/>
                <a:gd name="connsiteX7" fmla="*/ 3371993 w 3994935"/>
                <a:gd name="connsiteY7" fmla="*/ 1159928 h 1428437"/>
                <a:gd name="connsiteX0" fmla="*/ 0 w 622942"/>
                <a:gd name="connsiteY0" fmla="*/ 268510 h 537019"/>
                <a:gd name="connsiteX1" fmla="*/ 134255 w 622942"/>
                <a:gd name="connsiteY1" fmla="*/ 0 h 537019"/>
                <a:gd name="connsiteX2" fmla="*/ 488687 w 622942"/>
                <a:gd name="connsiteY2" fmla="*/ 0 h 537019"/>
                <a:gd name="connsiteX3" fmla="*/ 622942 w 622942"/>
                <a:gd name="connsiteY3" fmla="*/ 268510 h 537019"/>
                <a:gd name="connsiteX4" fmla="*/ 488687 w 622942"/>
                <a:gd name="connsiteY4" fmla="*/ 537019 h 537019"/>
                <a:gd name="connsiteX5" fmla="*/ 134255 w 622942"/>
                <a:gd name="connsiteY5" fmla="*/ 537019 h 537019"/>
                <a:gd name="connsiteX6" fmla="*/ 0 w 622942"/>
                <a:gd name="connsiteY6" fmla="*/ 268510 h 537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2942" h="537019">
                  <a:moveTo>
                    <a:pt x="0" y="268510"/>
                  </a:moveTo>
                  <a:lnTo>
                    <a:pt x="134255" y="0"/>
                  </a:lnTo>
                  <a:lnTo>
                    <a:pt x="488687" y="0"/>
                  </a:lnTo>
                  <a:lnTo>
                    <a:pt x="622942" y="268510"/>
                  </a:lnTo>
                  <a:lnTo>
                    <a:pt x="488687" y="537019"/>
                  </a:lnTo>
                  <a:lnTo>
                    <a:pt x="134255" y="537019"/>
                  </a:lnTo>
                  <a:lnTo>
                    <a:pt x="0" y="268510"/>
                  </a:lnTo>
                  <a:close/>
                </a:path>
              </a:pathLst>
            </a:custGeom>
            <a:pattFill prst="pct80">
              <a:fgClr>
                <a:schemeClr val="accent2"/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5379019-515D-43FA-8B82-77318DBF6103}"/>
              </a:ext>
            </a:extLst>
          </p:cNvPr>
          <p:cNvGrpSpPr/>
          <p:nvPr userDrawn="1"/>
        </p:nvGrpSpPr>
        <p:grpSpPr>
          <a:xfrm rot="18851938" flipH="1">
            <a:off x="3380156" y="2143000"/>
            <a:ext cx="568515" cy="559723"/>
            <a:chOff x="4900061" y="836930"/>
            <a:chExt cx="671623" cy="661236"/>
          </a:xfrm>
        </p:grpSpPr>
        <p:sp>
          <p:nvSpPr>
            <p:cNvPr id="25" name="矩形 407">
              <a:extLst>
                <a:ext uri="{FF2B5EF4-FFF2-40B4-BE49-F238E27FC236}">
                  <a16:creationId xmlns:a16="http://schemas.microsoft.com/office/drawing/2014/main" id="{C8A6A78D-00CD-426D-B9B4-89A8BEDE8BCD}"/>
                </a:ext>
              </a:extLst>
            </p:cNvPr>
            <p:cNvSpPr/>
            <p:nvPr/>
          </p:nvSpPr>
          <p:spPr>
            <a:xfrm>
              <a:off x="5090797" y="1017279"/>
              <a:ext cx="480887" cy="480887"/>
            </a:xfrm>
            <a:custGeom>
              <a:avLst/>
              <a:gdLst>
                <a:gd name="connsiteX0" fmla="*/ 0 w 480887"/>
                <a:gd name="connsiteY0" fmla="*/ 0 h 480887"/>
                <a:gd name="connsiteX1" fmla="*/ 480887 w 480887"/>
                <a:gd name="connsiteY1" fmla="*/ 0 h 480887"/>
                <a:gd name="connsiteX2" fmla="*/ 480887 w 480887"/>
                <a:gd name="connsiteY2" fmla="*/ 480887 h 480887"/>
                <a:gd name="connsiteX3" fmla="*/ 0 w 480887"/>
                <a:gd name="connsiteY3" fmla="*/ 480887 h 480887"/>
                <a:gd name="connsiteX4" fmla="*/ 0 w 480887"/>
                <a:gd name="connsiteY4" fmla="*/ 0 h 480887"/>
                <a:gd name="connsiteX0" fmla="*/ 5090797 w 5571684"/>
                <a:gd name="connsiteY0" fmla="*/ 1017279 h 1498166"/>
                <a:gd name="connsiteX1" fmla="*/ 0 w 5571684"/>
                <a:gd name="connsiteY1" fmla="*/ 0 h 1498166"/>
                <a:gd name="connsiteX2" fmla="*/ 5571684 w 5571684"/>
                <a:gd name="connsiteY2" fmla="*/ 1017279 h 1498166"/>
                <a:gd name="connsiteX3" fmla="*/ 5571684 w 5571684"/>
                <a:gd name="connsiteY3" fmla="*/ 1498166 h 1498166"/>
                <a:gd name="connsiteX4" fmla="*/ 5090797 w 5571684"/>
                <a:gd name="connsiteY4" fmla="*/ 1498166 h 1498166"/>
                <a:gd name="connsiteX5" fmla="*/ 5090797 w 5571684"/>
                <a:gd name="connsiteY5" fmla="*/ 1017279 h 1498166"/>
                <a:gd name="connsiteX0" fmla="*/ 0 w 480887"/>
                <a:gd name="connsiteY0" fmla="*/ 0 h 480887"/>
                <a:gd name="connsiteX1" fmla="*/ 480887 w 480887"/>
                <a:gd name="connsiteY1" fmla="*/ 0 h 480887"/>
                <a:gd name="connsiteX2" fmla="*/ 480887 w 480887"/>
                <a:gd name="connsiteY2" fmla="*/ 480887 h 480887"/>
                <a:gd name="connsiteX3" fmla="*/ 0 w 480887"/>
                <a:gd name="connsiteY3" fmla="*/ 480887 h 480887"/>
                <a:gd name="connsiteX4" fmla="*/ 0 w 480887"/>
                <a:gd name="connsiteY4" fmla="*/ 0 h 48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887" h="480887">
                  <a:moveTo>
                    <a:pt x="0" y="0"/>
                  </a:moveTo>
                  <a:lnTo>
                    <a:pt x="480887" y="0"/>
                  </a:lnTo>
                  <a:lnTo>
                    <a:pt x="480887" y="480887"/>
                  </a:lnTo>
                  <a:lnTo>
                    <a:pt x="0" y="4808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E80CAD3-118F-407E-8E80-E75FB93148BE}"/>
                </a:ext>
              </a:extLst>
            </p:cNvPr>
            <p:cNvSpPr/>
            <p:nvPr/>
          </p:nvSpPr>
          <p:spPr>
            <a:xfrm>
              <a:off x="5027219" y="957164"/>
              <a:ext cx="480887" cy="480887"/>
            </a:xfrm>
            <a:custGeom>
              <a:avLst/>
              <a:gdLst/>
              <a:ahLst/>
              <a:cxnLst/>
              <a:rect l="0" t="0" r="0" b="0"/>
              <a:pathLst>
                <a:path w="480888" h="480888">
                  <a:moveTo>
                    <a:pt x="0" y="0"/>
                  </a:moveTo>
                  <a:lnTo>
                    <a:pt x="480887" y="0"/>
                  </a:lnTo>
                  <a:lnTo>
                    <a:pt x="480887" y="480887"/>
                  </a:lnTo>
                  <a:lnTo>
                    <a:pt x="0" y="480887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4D9E6D6-7282-4ECE-B93F-59166A5C62B2}"/>
                </a:ext>
              </a:extLst>
            </p:cNvPr>
            <p:cNvSpPr/>
            <p:nvPr/>
          </p:nvSpPr>
          <p:spPr>
            <a:xfrm>
              <a:off x="4963641" y="897047"/>
              <a:ext cx="480887" cy="480887"/>
            </a:xfrm>
            <a:custGeom>
              <a:avLst/>
              <a:gdLst/>
              <a:ahLst/>
              <a:cxnLst/>
              <a:rect l="0" t="0" r="0" b="0"/>
              <a:pathLst>
                <a:path w="480888" h="480888">
                  <a:moveTo>
                    <a:pt x="0" y="0"/>
                  </a:moveTo>
                  <a:lnTo>
                    <a:pt x="480887" y="0"/>
                  </a:lnTo>
                  <a:lnTo>
                    <a:pt x="480887" y="480887"/>
                  </a:lnTo>
                  <a:lnTo>
                    <a:pt x="0" y="480887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28" name="矩形 408">
              <a:extLst>
                <a:ext uri="{FF2B5EF4-FFF2-40B4-BE49-F238E27FC236}">
                  <a16:creationId xmlns:a16="http://schemas.microsoft.com/office/drawing/2014/main" id="{72774B67-0249-4C3D-AA8A-1DF5B821A27D}"/>
                </a:ext>
              </a:extLst>
            </p:cNvPr>
            <p:cNvSpPr/>
            <p:nvPr/>
          </p:nvSpPr>
          <p:spPr>
            <a:xfrm>
              <a:off x="4900061" y="836930"/>
              <a:ext cx="480887" cy="480887"/>
            </a:xfrm>
            <a:custGeom>
              <a:avLst/>
              <a:gdLst>
                <a:gd name="connsiteX0" fmla="*/ 0 w 480887"/>
                <a:gd name="connsiteY0" fmla="*/ 0 h 480887"/>
                <a:gd name="connsiteX1" fmla="*/ 480887 w 480887"/>
                <a:gd name="connsiteY1" fmla="*/ 0 h 480887"/>
                <a:gd name="connsiteX2" fmla="*/ 480887 w 480887"/>
                <a:gd name="connsiteY2" fmla="*/ 480887 h 480887"/>
                <a:gd name="connsiteX3" fmla="*/ 0 w 480887"/>
                <a:gd name="connsiteY3" fmla="*/ 480887 h 480887"/>
                <a:gd name="connsiteX4" fmla="*/ 0 w 480887"/>
                <a:gd name="connsiteY4" fmla="*/ 0 h 480887"/>
                <a:gd name="connsiteX0" fmla="*/ 4900061 w 5380948"/>
                <a:gd name="connsiteY0" fmla="*/ 836930 h 1317817"/>
                <a:gd name="connsiteX1" fmla="*/ 0 w 5380948"/>
                <a:gd name="connsiteY1" fmla="*/ 0 h 1317817"/>
                <a:gd name="connsiteX2" fmla="*/ 5380948 w 5380948"/>
                <a:gd name="connsiteY2" fmla="*/ 836930 h 1317817"/>
                <a:gd name="connsiteX3" fmla="*/ 5380948 w 5380948"/>
                <a:gd name="connsiteY3" fmla="*/ 1317817 h 1317817"/>
                <a:gd name="connsiteX4" fmla="*/ 4900061 w 5380948"/>
                <a:gd name="connsiteY4" fmla="*/ 1317817 h 1317817"/>
                <a:gd name="connsiteX5" fmla="*/ 4900061 w 5380948"/>
                <a:gd name="connsiteY5" fmla="*/ 836930 h 1317817"/>
                <a:gd name="connsiteX0" fmla="*/ 0 w 480887"/>
                <a:gd name="connsiteY0" fmla="*/ 0 h 480887"/>
                <a:gd name="connsiteX1" fmla="*/ 480887 w 480887"/>
                <a:gd name="connsiteY1" fmla="*/ 0 h 480887"/>
                <a:gd name="connsiteX2" fmla="*/ 480887 w 480887"/>
                <a:gd name="connsiteY2" fmla="*/ 480887 h 480887"/>
                <a:gd name="connsiteX3" fmla="*/ 0 w 480887"/>
                <a:gd name="connsiteY3" fmla="*/ 480887 h 480887"/>
                <a:gd name="connsiteX4" fmla="*/ 0 w 480887"/>
                <a:gd name="connsiteY4" fmla="*/ 0 h 480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0887" h="480887">
                  <a:moveTo>
                    <a:pt x="0" y="0"/>
                  </a:moveTo>
                  <a:lnTo>
                    <a:pt x="480887" y="0"/>
                  </a:lnTo>
                  <a:lnTo>
                    <a:pt x="480887" y="480887"/>
                  </a:lnTo>
                  <a:lnTo>
                    <a:pt x="0" y="4808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0BF94D11-7BBC-4112-B09A-188B4E019C5E}"/>
              </a:ext>
            </a:extLst>
          </p:cNvPr>
          <p:cNvGrpSpPr/>
          <p:nvPr userDrawn="1"/>
        </p:nvGrpSpPr>
        <p:grpSpPr>
          <a:xfrm rot="20962191" flipH="1">
            <a:off x="4176595" y="4257091"/>
            <a:ext cx="743713" cy="1078629"/>
            <a:chOff x="4800735" y="5930549"/>
            <a:chExt cx="1677988" cy="2433637"/>
          </a:xfrm>
        </p:grpSpPr>
        <p:sp>
          <p:nvSpPr>
            <p:cNvPr id="19" name="Freeform 36">
              <a:extLst>
                <a:ext uri="{FF2B5EF4-FFF2-40B4-BE49-F238E27FC236}">
                  <a16:creationId xmlns:a16="http://schemas.microsoft.com/office/drawing/2014/main" id="{B9DE0D66-82D3-470B-B25D-D1F7B0F19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6935" y="7624411"/>
              <a:ext cx="404813" cy="739775"/>
            </a:xfrm>
            <a:custGeom>
              <a:avLst/>
              <a:gdLst>
                <a:gd name="T0" fmla="*/ 14 w 122"/>
                <a:gd name="T1" fmla="*/ 222 h 224"/>
                <a:gd name="T2" fmla="*/ 31 w 122"/>
                <a:gd name="T3" fmla="*/ 183 h 224"/>
                <a:gd name="T4" fmla="*/ 59 w 122"/>
                <a:gd name="T5" fmla="*/ 91 h 224"/>
                <a:gd name="T6" fmla="*/ 122 w 122"/>
                <a:gd name="T7" fmla="*/ 29 h 224"/>
                <a:gd name="T8" fmla="*/ 100 w 122"/>
                <a:gd name="T9" fmla="*/ 5 h 224"/>
                <a:gd name="T10" fmla="*/ 24 w 122"/>
                <a:gd name="T11" fmla="*/ 91 h 224"/>
                <a:gd name="T12" fmla="*/ 10 w 122"/>
                <a:gd name="T13" fmla="*/ 185 h 224"/>
                <a:gd name="T14" fmla="*/ 14 w 122"/>
                <a:gd name="T15" fmla="*/ 22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224">
                  <a:moveTo>
                    <a:pt x="14" y="222"/>
                  </a:moveTo>
                  <a:cubicBezTo>
                    <a:pt x="28" y="224"/>
                    <a:pt x="27" y="198"/>
                    <a:pt x="31" y="183"/>
                  </a:cubicBezTo>
                  <a:cubicBezTo>
                    <a:pt x="33" y="177"/>
                    <a:pt x="56" y="93"/>
                    <a:pt x="59" y="91"/>
                  </a:cubicBezTo>
                  <a:cubicBezTo>
                    <a:pt x="75" y="79"/>
                    <a:pt x="122" y="29"/>
                    <a:pt x="122" y="29"/>
                  </a:cubicBezTo>
                  <a:cubicBezTo>
                    <a:pt x="122" y="29"/>
                    <a:pt x="110" y="0"/>
                    <a:pt x="100" y="5"/>
                  </a:cubicBezTo>
                  <a:cubicBezTo>
                    <a:pt x="90" y="10"/>
                    <a:pt x="34" y="56"/>
                    <a:pt x="24" y="91"/>
                  </a:cubicBezTo>
                  <a:cubicBezTo>
                    <a:pt x="13" y="125"/>
                    <a:pt x="7" y="180"/>
                    <a:pt x="10" y="185"/>
                  </a:cubicBezTo>
                  <a:cubicBezTo>
                    <a:pt x="13" y="190"/>
                    <a:pt x="0" y="219"/>
                    <a:pt x="14" y="222"/>
                  </a:cubicBezTo>
                  <a:close/>
                </a:path>
              </a:pathLst>
            </a:custGeom>
            <a:solidFill>
              <a:srgbClr val="E6E7E8"/>
            </a:solidFill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B095ADE7-23F5-42F2-85B8-F2E564A9F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022" y="5930549"/>
              <a:ext cx="858838" cy="1085850"/>
            </a:xfrm>
            <a:custGeom>
              <a:avLst/>
              <a:gdLst>
                <a:gd name="T0" fmla="*/ 259 w 259"/>
                <a:gd name="T1" fmla="*/ 22 h 329"/>
                <a:gd name="T2" fmla="*/ 210 w 259"/>
                <a:gd name="T3" fmla="*/ 53 h 329"/>
                <a:gd name="T4" fmla="*/ 148 w 259"/>
                <a:gd name="T5" fmla="*/ 202 h 329"/>
                <a:gd name="T6" fmla="*/ 22 w 259"/>
                <a:gd name="T7" fmla="*/ 318 h 329"/>
                <a:gd name="T8" fmla="*/ 53 w 259"/>
                <a:gd name="T9" fmla="*/ 329 h 329"/>
                <a:gd name="T10" fmla="*/ 152 w 259"/>
                <a:gd name="T11" fmla="*/ 246 h 329"/>
                <a:gd name="T12" fmla="*/ 201 w 259"/>
                <a:gd name="T13" fmla="*/ 156 h 329"/>
                <a:gd name="T14" fmla="*/ 235 w 259"/>
                <a:gd name="T15" fmla="*/ 52 h 329"/>
                <a:gd name="T16" fmla="*/ 259 w 259"/>
                <a:gd name="T17" fmla="*/ 22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329">
                  <a:moveTo>
                    <a:pt x="259" y="22"/>
                  </a:moveTo>
                  <a:cubicBezTo>
                    <a:pt x="259" y="22"/>
                    <a:pt x="229" y="0"/>
                    <a:pt x="210" y="53"/>
                  </a:cubicBezTo>
                  <a:cubicBezTo>
                    <a:pt x="191" y="105"/>
                    <a:pt x="166" y="187"/>
                    <a:pt x="148" y="202"/>
                  </a:cubicBezTo>
                  <a:cubicBezTo>
                    <a:pt x="131" y="218"/>
                    <a:pt x="44" y="309"/>
                    <a:pt x="22" y="318"/>
                  </a:cubicBezTo>
                  <a:cubicBezTo>
                    <a:pt x="0" y="327"/>
                    <a:pt x="53" y="329"/>
                    <a:pt x="53" y="329"/>
                  </a:cubicBezTo>
                  <a:cubicBezTo>
                    <a:pt x="53" y="329"/>
                    <a:pt x="135" y="265"/>
                    <a:pt x="152" y="246"/>
                  </a:cubicBezTo>
                  <a:cubicBezTo>
                    <a:pt x="169" y="227"/>
                    <a:pt x="188" y="175"/>
                    <a:pt x="201" y="156"/>
                  </a:cubicBezTo>
                  <a:cubicBezTo>
                    <a:pt x="214" y="137"/>
                    <a:pt x="228" y="58"/>
                    <a:pt x="235" y="52"/>
                  </a:cubicBezTo>
                  <a:cubicBezTo>
                    <a:pt x="242" y="47"/>
                    <a:pt x="259" y="22"/>
                    <a:pt x="259" y="22"/>
                  </a:cubicBezTo>
                  <a:close/>
                </a:path>
              </a:pathLst>
            </a:custGeom>
            <a:solidFill>
              <a:srgbClr val="E6E7E8"/>
            </a:solidFill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id="{81F6EF33-DF77-48CC-B563-E2132D185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735" y="5992461"/>
              <a:ext cx="1550988" cy="2047875"/>
            </a:xfrm>
            <a:custGeom>
              <a:avLst/>
              <a:gdLst>
                <a:gd name="T0" fmla="*/ 5 w 468"/>
                <a:gd name="T1" fmla="*/ 558 h 620"/>
                <a:gd name="T2" fmla="*/ 69 w 468"/>
                <a:gd name="T3" fmla="*/ 505 h 620"/>
                <a:gd name="T4" fmla="*/ 83 w 468"/>
                <a:gd name="T5" fmla="*/ 495 h 620"/>
                <a:gd name="T6" fmla="*/ 89 w 468"/>
                <a:gd name="T7" fmla="*/ 477 h 620"/>
                <a:gd name="T8" fmla="*/ 146 w 468"/>
                <a:gd name="T9" fmla="*/ 414 h 620"/>
                <a:gd name="T10" fmla="*/ 197 w 468"/>
                <a:gd name="T11" fmla="*/ 312 h 620"/>
                <a:gd name="T12" fmla="*/ 267 w 468"/>
                <a:gd name="T13" fmla="*/ 274 h 620"/>
                <a:gd name="T14" fmla="*/ 361 w 468"/>
                <a:gd name="T15" fmla="*/ 184 h 620"/>
                <a:gd name="T16" fmla="*/ 432 w 468"/>
                <a:gd name="T17" fmla="*/ 17 h 620"/>
                <a:gd name="T18" fmla="*/ 463 w 468"/>
                <a:gd name="T19" fmla="*/ 7 h 620"/>
                <a:gd name="T20" fmla="*/ 451 w 468"/>
                <a:gd name="T21" fmla="*/ 34 h 620"/>
                <a:gd name="T22" fmla="*/ 404 w 468"/>
                <a:gd name="T23" fmla="*/ 176 h 620"/>
                <a:gd name="T24" fmla="*/ 294 w 468"/>
                <a:gd name="T25" fmla="*/ 355 h 620"/>
                <a:gd name="T26" fmla="*/ 252 w 468"/>
                <a:gd name="T27" fmla="*/ 391 h 620"/>
                <a:gd name="T28" fmla="*/ 221 w 468"/>
                <a:gd name="T29" fmla="*/ 445 h 620"/>
                <a:gd name="T30" fmla="*/ 188 w 468"/>
                <a:gd name="T31" fmla="*/ 508 h 620"/>
                <a:gd name="T32" fmla="*/ 139 w 468"/>
                <a:gd name="T33" fmla="*/ 529 h 620"/>
                <a:gd name="T34" fmla="*/ 113 w 468"/>
                <a:gd name="T35" fmla="*/ 522 h 620"/>
                <a:gd name="T36" fmla="*/ 103 w 468"/>
                <a:gd name="T37" fmla="*/ 536 h 620"/>
                <a:gd name="T38" fmla="*/ 101 w 468"/>
                <a:gd name="T39" fmla="*/ 569 h 620"/>
                <a:gd name="T40" fmla="*/ 106 w 468"/>
                <a:gd name="T41" fmla="*/ 576 h 620"/>
                <a:gd name="T42" fmla="*/ 91 w 468"/>
                <a:gd name="T43" fmla="*/ 583 h 620"/>
                <a:gd name="T44" fmla="*/ 69 w 468"/>
                <a:gd name="T45" fmla="*/ 595 h 620"/>
                <a:gd name="T46" fmla="*/ 77 w 468"/>
                <a:gd name="T47" fmla="*/ 614 h 620"/>
                <a:gd name="T48" fmla="*/ 48 w 468"/>
                <a:gd name="T49" fmla="*/ 615 h 620"/>
                <a:gd name="T50" fmla="*/ 5 w 468"/>
                <a:gd name="T51" fmla="*/ 55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68" h="620">
                  <a:moveTo>
                    <a:pt x="5" y="558"/>
                  </a:moveTo>
                  <a:cubicBezTo>
                    <a:pt x="13" y="531"/>
                    <a:pt x="38" y="511"/>
                    <a:pt x="69" y="505"/>
                  </a:cubicBezTo>
                  <a:cubicBezTo>
                    <a:pt x="85" y="503"/>
                    <a:pt x="69" y="505"/>
                    <a:pt x="83" y="495"/>
                  </a:cubicBezTo>
                  <a:cubicBezTo>
                    <a:pt x="98" y="484"/>
                    <a:pt x="86" y="486"/>
                    <a:pt x="89" y="477"/>
                  </a:cubicBezTo>
                  <a:cubicBezTo>
                    <a:pt x="91" y="469"/>
                    <a:pt x="108" y="429"/>
                    <a:pt x="146" y="414"/>
                  </a:cubicBezTo>
                  <a:cubicBezTo>
                    <a:pt x="184" y="399"/>
                    <a:pt x="169" y="337"/>
                    <a:pt x="197" y="312"/>
                  </a:cubicBezTo>
                  <a:cubicBezTo>
                    <a:pt x="225" y="286"/>
                    <a:pt x="237" y="308"/>
                    <a:pt x="267" y="274"/>
                  </a:cubicBezTo>
                  <a:cubicBezTo>
                    <a:pt x="298" y="240"/>
                    <a:pt x="352" y="202"/>
                    <a:pt x="361" y="184"/>
                  </a:cubicBezTo>
                  <a:cubicBezTo>
                    <a:pt x="370" y="166"/>
                    <a:pt x="418" y="32"/>
                    <a:pt x="432" y="17"/>
                  </a:cubicBezTo>
                  <a:cubicBezTo>
                    <a:pt x="446" y="2"/>
                    <a:pt x="457" y="0"/>
                    <a:pt x="463" y="7"/>
                  </a:cubicBezTo>
                  <a:cubicBezTo>
                    <a:pt x="468" y="14"/>
                    <a:pt x="458" y="26"/>
                    <a:pt x="451" y="34"/>
                  </a:cubicBezTo>
                  <a:cubicBezTo>
                    <a:pt x="434" y="53"/>
                    <a:pt x="429" y="135"/>
                    <a:pt x="404" y="176"/>
                  </a:cubicBezTo>
                  <a:cubicBezTo>
                    <a:pt x="379" y="218"/>
                    <a:pt x="310" y="339"/>
                    <a:pt x="294" y="355"/>
                  </a:cubicBezTo>
                  <a:cubicBezTo>
                    <a:pt x="273" y="375"/>
                    <a:pt x="265" y="373"/>
                    <a:pt x="252" y="391"/>
                  </a:cubicBezTo>
                  <a:cubicBezTo>
                    <a:pt x="236" y="413"/>
                    <a:pt x="227" y="432"/>
                    <a:pt x="221" y="445"/>
                  </a:cubicBezTo>
                  <a:cubicBezTo>
                    <a:pt x="215" y="459"/>
                    <a:pt x="205" y="491"/>
                    <a:pt x="188" y="508"/>
                  </a:cubicBezTo>
                  <a:cubicBezTo>
                    <a:pt x="167" y="528"/>
                    <a:pt x="159" y="530"/>
                    <a:pt x="139" y="529"/>
                  </a:cubicBezTo>
                  <a:cubicBezTo>
                    <a:pt x="133" y="529"/>
                    <a:pt x="119" y="520"/>
                    <a:pt x="113" y="522"/>
                  </a:cubicBezTo>
                  <a:cubicBezTo>
                    <a:pt x="102" y="524"/>
                    <a:pt x="103" y="536"/>
                    <a:pt x="103" y="536"/>
                  </a:cubicBezTo>
                  <a:cubicBezTo>
                    <a:pt x="103" y="536"/>
                    <a:pt x="119" y="553"/>
                    <a:pt x="101" y="569"/>
                  </a:cubicBezTo>
                  <a:cubicBezTo>
                    <a:pt x="101" y="569"/>
                    <a:pt x="110" y="571"/>
                    <a:pt x="106" y="576"/>
                  </a:cubicBezTo>
                  <a:cubicBezTo>
                    <a:pt x="103" y="581"/>
                    <a:pt x="91" y="583"/>
                    <a:pt x="91" y="583"/>
                  </a:cubicBezTo>
                  <a:cubicBezTo>
                    <a:pt x="91" y="583"/>
                    <a:pt x="81" y="593"/>
                    <a:pt x="69" y="595"/>
                  </a:cubicBezTo>
                  <a:cubicBezTo>
                    <a:pt x="57" y="597"/>
                    <a:pt x="76" y="610"/>
                    <a:pt x="77" y="614"/>
                  </a:cubicBezTo>
                  <a:cubicBezTo>
                    <a:pt x="77" y="618"/>
                    <a:pt x="66" y="620"/>
                    <a:pt x="48" y="615"/>
                  </a:cubicBezTo>
                  <a:cubicBezTo>
                    <a:pt x="24" y="608"/>
                    <a:pt x="0" y="575"/>
                    <a:pt x="5" y="558"/>
                  </a:cubicBezTo>
                  <a:close/>
                </a:path>
              </a:pathLst>
            </a:custGeom>
            <a:solidFill>
              <a:srgbClr val="E6E7E8"/>
            </a:solidFill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39">
              <a:extLst>
                <a:ext uri="{FF2B5EF4-FFF2-40B4-BE49-F238E27FC236}">
                  <a16:creationId xmlns:a16="http://schemas.microsoft.com/office/drawing/2014/main" id="{24981F06-3E5D-4000-BB2B-974F4A7BA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735" y="7475186"/>
              <a:ext cx="663575" cy="869950"/>
            </a:xfrm>
            <a:custGeom>
              <a:avLst/>
              <a:gdLst>
                <a:gd name="T0" fmla="*/ 14 w 200"/>
                <a:gd name="T1" fmla="*/ 263 h 263"/>
                <a:gd name="T2" fmla="*/ 31 w 200"/>
                <a:gd name="T3" fmla="*/ 229 h 263"/>
                <a:gd name="T4" fmla="*/ 81 w 200"/>
                <a:gd name="T5" fmla="*/ 138 h 263"/>
                <a:gd name="T6" fmla="*/ 188 w 200"/>
                <a:gd name="T7" fmla="*/ 42 h 263"/>
                <a:gd name="T8" fmla="*/ 190 w 200"/>
                <a:gd name="T9" fmla="*/ 10 h 263"/>
                <a:gd name="T10" fmla="*/ 152 w 200"/>
                <a:gd name="T11" fmla="*/ 20 h 263"/>
                <a:gd name="T12" fmla="*/ 58 w 200"/>
                <a:gd name="T13" fmla="*/ 122 h 263"/>
                <a:gd name="T14" fmla="*/ 12 w 200"/>
                <a:gd name="T15" fmla="*/ 222 h 263"/>
                <a:gd name="T16" fmla="*/ 14 w 200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263">
                  <a:moveTo>
                    <a:pt x="14" y="263"/>
                  </a:moveTo>
                  <a:cubicBezTo>
                    <a:pt x="28" y="263"/>
                    <a:pt x="29" y="245"/>
                    <a:pt x="31" y="229"/>
                  </a:cubicBezTo>
                  <a:cubicBezTo>
                    <a:pt x="34" y="213"/>
                    <a:pt x="70" y="166"/>
                    <a:pt x="81" y="138"/>
                  </a:cubicBezTo>
                  <a:cubicBezTo>
                    <a:pt x="92" y="111"/>
                    <a:pt x="179" y="53"/>
                    <a:pt x="188" y="42"/>
                  </a:cubicBezTo>
                  <a:cubicBezTo>
                    <a:pt x="198" y="32"/>
                    <a:pt x="200" y="20"/>
                    <a:pt x="190" y="10"/>
                  </a:cubicBezTo>
                  <a:cubicBezTo>
                    <a:pt x="179" y="0"/>
                    <a:pt x="156" y="17"/>
                    <a:pt x="152" y="20"/>
                  </a:cubicBezTo>
                  <a:cubicBezTo>
                    <a:pt x="142" y="27"/>
                    <a:pt x="76" y="86"/>
                    <a:pt x="58" y="122"/>
                  </a:cubicBezTo>
                  <a:cubicBezTo>
                    <a:pt x="40" y="158"/>
                    <a:pt x="9" y="217"/>
                    <a:pt x="12" y="222"/>
                  </a:cubicBezTo>
                  <a:cubicBezTo>
                    <a:pt x="16" y="226"/>
                    <a:pt x="0" y="262"/>
                    <a:pt x="14" y="263"/>
                  </a:cubicBezTo>
                  <a:close/>
                </a:path>
              </a:pathLst>
            </a:custGeom>
            <a:solidFill>
              <a:srgbClr val="E6E7E8"/>
            </a:solidFill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40">
              <a:extLst>
                <a:ext uri="{FF2B5EF4-FFF2-40B4-BE49-F238E27FC236}">
                  <a16:creationId xmlns:a16="http://schemas.microsoft.com/office/drawing/2014/main" id="{70182947-EC64-43A9-AA1F-C433259C6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6235" y="6884636"/>
              <a:ext cx="182563" cy="158750"/>
            </a:xfrm>
            <a:custGeom>
              <a:avLst/>
              <a:gdLst>
                <a:gd name="T0" fmla="*/ 43 w 55"/>
                <a:gd name="T1" fmla="*/ 0 h 48"/>
                <a:gd name="T2" fmla="*/ 55 w 55"/>
                <a:gd name="T3" fmla="*/ 4 h 48"/>
                <a:gd name="T4" fmla="*/ 47 w 55"/>
                <a:gd name="T5" fmla="*/ 48 h 48"/>
                <a:gd name="T6" fmla="*/ 0 w 55"/>
                <a:gd name="T7" fmla="*/ 28 h 48"/>
                <a:gd name="T8" fmla="*/ 27 w 55"/>
                <a:gd name="T9" fmla="*/ 12 h 48"/>
                <a:gd name="T10" fmla="*/ 43 w 55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48">
                  <a:moveTo>
                    <a:pt x="43" y="0"/>
                  </a:moveTo>
                  <a:cubicBezTo>
                    <a:pt x="55" y="4"/>
                    <a:pt x="55" y="4"/>
                    <a:pt x="55" y="4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19" y="16"/>
                    <a:pt x="27" y="12"/>
                  </a:cubicBezTo>
                  <a:cubicBezTo>
                    <a:pt x="35" y="8"/>
                    <a:pt x="43" y="0"/>
                    <a:pt x="43" y="0"/>
                  </a:cubicBezTo>
                  <a:close/>
                </a:path>
              </a:pathLst>
            </a:custGeom>
            <a:pattFill prst="pct30">
              <a:fgClr>
                <a:schemeClr val="accent1"/>
              </a:fgClr>
              <a:bgClr>
                <a:schemeClr val="bg1"/>
              </a:bgClr>
            </a:pattFill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41">
              <a:extLst>
                <a:ext uri="{FF2B5EF4-FFF2-40B4-BE49-F238E27FC236}">
                  <a16:creationId xmlns:a16="http://schemas.microsoft.com/office/drawing/2014/main" id="{053C2FFF-9A9E-4F7F-8E15-E638BF501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335" y="6884636"/>
              <a:ext cx="466725" cy="363538"/>
            </a:xfrm>
            <a:custGeom>
              <a:avLst/>
              <a:gdLst>
                <a:gd name="T0" fmla="*/ 82 w 141"/>
                <a:gd name="T1" fmla="*/ 8 h 110"/>
                <a:gd name="T2" fmla="*/ 141 w 141"/>
                <a:gd name="T3" fmla="*/ 39 h 110"/>
                <a:gd name="T4" fmla="*/ 78 w 141"/>
                <a:gd name="T5" fmla="*/ 108 h 110"/>
                <a:gd name="T6" fmla="*/ 2 w 141"/>
                <a:gd name="T7" fmla="*/ 59 h 110"/>
                <a:gd name="T8" fmla="*/ 30 w 141"/>
                <a:gd name="T9" fmla="*/ 28 h 110"/>
                <a:gd name="T10" fmla="*/ 82 w 141"/>
                <a:gd name="T11" fmla="*/ 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110">
                  <a:moveTo>
                    <a:pt x="82" y="8"/>
                  </a:moveTo>
                  <a:cubicBezTo>
                    <a:pt x="86" y="0"/>
                    <a:pt x="141" y="39"/>
                    <a:pt x="141" y="39"/>
                  </a:cubicBezTo>
                  <a:cubicBezTo>
                    <a:pt x="141" y="39"/>
                    <a:pt x="99" y="106"/>
                    <a:pt x="78" y="108"/>
                  </a:cubicBezTo>
                  <a:cubicBezTo>
                    <a:pt x="57" y="110"/>
                    <a:pt x="6" y="63"/>
                    <a:pt x="2" y="59"/>
                  </a:cubicBezTo>
                  <a:cubicBezTo>
                    <a:pt x="0" y="58"/>
                    <a:pt x="14" y="28"/>
                    <a:pt x="30" y="28"/>
                  </a:cubicBezTo>
                  <a:cubicBezTo>
                    <a:pt x="46" y="28"/>
                    <a:pt x="80" y="12"/>
                    <a:pt x="82" y="8"/>
                  </a:cubicBezTo>
                  <a:close/>
                </a:path>
              </a:pathLst>
            </a:custGeom>
            <a:pattFill prst="pct70">
              <a:fgClr>
                <a:schemeClr val="accent1"/>
              </a:fgClr>
              <a:bgClr>
                <a:schemeClr val="bg1"/>
              </a:bgClr>
            </a:pattFill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118518" y="1130301"/>
            <a:ext cx="5400382" cy="256473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118518" y="4379759"/>
            <a:ext cx="540038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118518" y="4083488"/>
            <a:ext cx="540038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9/2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nvidia.com/cuda/cuda-compiler-driver-nvcc/index.html#options-for-steering-gpu-code-generation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image" Target="../media/image15.tmp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blog.csdn.net/u011934885/article/details/54706812" TargetMode="Externa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8" name="组合 437">
            <a:extLst>
              <a:ext uri="{FF2B5EF4-FFF2-40B4-BE49-F238E27FC236}">
                <a16:creationId xmlns:a16="http://schemas.microsoft.com/office/drawing/2014/main" id="{C3ADBB27-6EF9-42FE-81EB-C8684D6CFB15}"/>
              </a:ext>
            </a:extLst>
          </p:cNvPr>
          <p:cNvGrpSpPr/>
          <p:nvPr/>
        </p:nvGrpSpPr>
        <p:grpSpPr>
          <a:xfrm>
            <a:off x="685631" y="4454517"/>
            <a:ext cx="3135102" cy="755617"/>
            <a:chOff x="638141" y="4444589"/>
            <a:chExt cx="3135102" cy="755617"/>
          </a:xfrm>
        </p:grpSpPr>
        <p:sp>
          <p:nvSpPr>
            <p:cNvPr id="432" name="矩形 431">
              <a:extLst>
                <a:ext uri="{FF2B5EF4-FFF2-40B4-BE49-F238E27FC236}">
                  <a16:creationId xmlns:a16="http://schemas.microsoft.com/office/drawing/2014/main" id="{F8DC4572-8E95-4242-860D-2CD2907628EF}"/>
                </a:ext>
              </a:extLst>
            </p:cNvPr>
            <p:cNvSpPr/>
            <p:nvPr/>
          </p:nvSpPr>
          <p:spPr>
            <a:xfrm>
              <a:off x="748765" y="4633228"/>
              <a:ext cx="3024478" cy="566978"/>
            </a:xfrm>
            <a:custGeom>
              <a:avLst/>
              <a:gdLst>
                <a:gd name="connsiteX0" fmla="*/ 0 w 3024478"/>
                <a:gd name="connsiteY0" fmla="*/ 0 h 566978"/>
                <a:gd name="connsiteX1" fmla="*/ 3024478 w 3024478"/>
                <a:gd name="connsiteY1" fmla="*/ 0 h 566978"/>
                <a:gd name="connsiteX2" fmla="*/ 3024478 w 3024478"/>
                <a:gd name="connsiteY2" fmla="*/ 566978 h 566978"/>
                <a:gd name="connsiteX3" fmla="*/ 0 w 3024478"/>
                <a:gd name="connsiteY3" fmla="*/ 566978 h 566978"/>
                <a:gd name="connsiteX4" fmla="*/ 0 w 3024478"/>
                <a:gd name="connsiteY4" fmla="*/ 0 h 566978"/>
                <a:gd name="connsiteX0" fmla="*/ 748765 w 3773243"/>
                <a:gd name="connsiteY0" fmla="*/ 4633228 h 5200206"/>
                <a:gd name="connsiteX1" fmla="*/ 0 w 3773243"/>
                <a:gd name="connsiteY1" fmla="*/ 0 h 5200206"/>
                <a:gd name="connsiteX2" fmla="*/ 3773243 w 3773243"/>
                <a:gd name="connsiteY2" fmla="*/ 4633228 h 5200206"/>
                <a:gd name="connsiteX3" fmla="*/ 3773243 w 3773243"/>
                <a:gd name="connsiteY3" fmla="*/ 5200206 h 5200206"/>
                <a:gd name="connsiteX4" fmla="*/ 748765 w 3773243"/>
                <a:gd name="connsiteY4" fmla="*/ 5200206 h 5200206"/>
                <a:gd name="connsiteX5" fmla="*/ 748765 w 3773243"/>
                <a:gd name="connsiteY5" fmla="*/ 4633228 h 5200206"/>
                <a:gd name="connsiteX0" fmla="*/ 0 w 3024478"/>
                <a:gd name="connsiteY0" fmla="*/ 0 h 566978"/>
                <a:gd name="connsiteX1" fmla="*/ 3024478 w 3024478"/>
                <a:gd name="connsiteY1" fmla="*/ 0 h 566978"/>
                <a:gd name="connsiteX2" fmla="*/ 3024478 w 3024478"/>
                <a:gd name="connsiteY2" fmla="*/ 566978 h 566978"/>
                <a:gd name="connsiteX3" fmla="*/ 0 w 3024478"/>
                <a:gd name="connsiteY3" fmla="*/ 566978 h 566978"/>
                <a:gd name="connsiteX4" fmla="*/ 0 w 3024478"/>
                <a:gd name="connsiteY4" fmla="*/ 0 h 566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4478" h="566978">
                  <a:moveTo>
                    <a:pt x="0" y="0"/>
                  </a:moveTo>
                  <a:lnTo>
                    <a:pt x="3024478" y="0"/>
                  </a:lnTo>
                  <a:lnTo>
                    <a:pt x="3024478" y="566978"/>
                  </a:lnTo>
                  <a:lnTo>
                    <a:pt x="0" y="566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4" name="任意多边形: 形状 433">
              <a:extLst>
                <a:ext uri="{FF2B5EF4-FFF2-40B4-BE49-F238E27FC236}">
                  <a16:creationId xmlns:a16="http://schemas.microsoft.com/office/drawing/2014/main" id="{E3329AED-ED38-4CF6-A357-FDC4FAEE3F8D}"/>
                </a:ext>
              </a:extLst>
            </p:cNvPr>
            <p:cNvSpPr/>
            <p:nvPr/>
          </p:nvSpPr>
          <p:spPr>
            <a:xfrm>
              <a:off x="711890" y="4570349"/>
              <a:ext cx="3024478" cy="566978"/>
            </a:xfrm>
            <a:custGeom>
              <a:avLst/>
              <a:gdLst/>
              <a:ahLst/>
              <a:cxnLst/>
              <a:rect l="0" t="0" r="0" b="0"/>
              <a:pathLst>
                <a:path w="3024479" h="566978">
                  <a:moveTo>
                    <a:pt x="0" y="0"/>
                  </a:moveTo>
                  <a:lnTo>
                    <a:pt x="3024478" y="0"/>
                  </a:lnTo>
                  <a:lnTo>
                    <a:pt x="3024478" y="566977"/>
                  </a:lnTo>
                  <a:lnTo>
                    <a:pt x="0" y="566977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436" name="任意多边形: 形状 435">
              <a:extLst>
                <a:ext uri="{FF2B5EF4-FFF2-40B4-BE49-F238E27FC236}">
                  <a16:creationId xmlns:a16="http://schemas.microsoft.com/office/drawing/2014/main" id="{CC79CF78-0ABC-4DD7-B589-13A72ACCADF1}"/>
                </a:ext>
              </a:extLst>
            </p:cNvPr>
            <p:cNvSpPr/>
            <p:nvPr/>
          </p:nvSpPr>
          <p:spPr>
            <a:xfrm>
              <a:off x="675016" y="4507469"/>
              <a:ext cx="3024478" cy="566978"/>
            </a:xfrm>
            <a:custGeom>
              <a:avLst/>
              <a:gdLst/>
              <a:ahLst/>
              <a:cxnLst/>
              <a:rect l="0" t="0" r="0" b="0"/>
              <a:pathLst>
                <a:path w="3024479" h="566978">
                  <a:moveTo>
                    <a:pt x="0" y="0"/>
                  </a:moveTo>
                  <a:lnTo>
                    <a:pt x="3024478" y="0"/>
                  </a:lnTo>
                  <a:lnTo>
                    <a:pt x="3024478" y="566977"/>
                  </a:lnTo>
                  <a:lnTo>
                    <a:pt x="0" y="566977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431" name="矩形 430">
              <a:extLst>
                <a:ext uri="{FF2B5EF4-FFF2-40B4-BE49-F238E27FC236}">
                  <a16:creationId xmlns:a16="http://schemas.microsoft.com/office/drawing/2014/main" id="{66724EF0-AE38-41FB-969E-F07CA073CBEC}"/>
                </a:ext>
              </a:extLst>
            </p:cNvPr>
            <p:cNvSpPr/>
            <p:nvPr/>
          </p:nvSpPr>
          <p:spPr>
            <a:xfrm>
              <a:off x="638141" y="4444589"/>
              <a:ext cx="3024478" cy="566978"/>
            </a:xfrm>
            <a:custGeom>
              <a:avLst/>
              <a:gdLst>
                <a:gd name="connsiteX0" fmla="*/ 0 w 3024478"/>
                <a:gd name="connsiteY0" fmla="*/ 0 h 566978"/>
                <a:gd name="connsiteX1" fmla="*/ 3024478 w 3024478"/>
                <a:gd name="connsiteY1" fmla="*/ 0 h 566978"/>
                <a:gd name="connsiteX2" fmla="*/ 3024478 w 3024478"/>
                <a:gd name="connsiteY2" fmla="*/ 566978 h 566978"/>
                <a:gd name="connsiteX3" fmla="*/ 0 w 3024478"/>
                <a:gd name="connsiteY3" fmla="*/ 566978 h 566978"/>
                <a:gd name="connsiteX4" fmla="*/ 0 w 3024478"/>
                <a:gd name="connsiteY4" fmla="*/ 0 h 566978"/>
                <a:gd name="connsiteX0" fmla="*/ 638141 w 3662619"/>
                <a:gd name="connsiteY0" fmla="*/ 4444589 h 5011567"/>
                <a:gd name="connsiteX1" fmla="*/ 0 w 3662619"/>
                <a:gd name="connsiteY1" fmla="*/ 0 h 5011567"/>
                <a:gd name="connsiteX2" fmla="*/ 3662619 w 3662619"/>
                <a:gd name="connsiteY2" fmla="*/ 4444589 h 5011567"/>
                <a:gd name="connsiteX3" fmla="*/ 3662619 w 3662619"/>
                <a:gd name="connsiteY3" fmla="*/ 5011567 h 5011567"/>
                <a:gd name="connsiteX4" fmla="*/ 638141 w 3662619"/>
                <a:gd name="connsiteY4" fmla="*/ 5011567 h 5011567"/>
                <a:gd name="connsiteX5" fmla="*/ 638141 w 3662619"/>
                <a:gd name="connsiteY5" fmla="*/ 4444589 h 5011567"/>
                <a:gd name="connsiteX0" fmla="*/ 0 w 3024478"/>
                <a:gd name="connsiteY0" fmla="*/ 0 h 566978"/>
                <a:gd name="connsiteX1" fmla="*/ 3024478 w 3024478"/>
                <a:gd name="connsiteY1" fmla="*/ 0 h 566978"/>
                <a:gd name="connsiteX2" fmla="*/ 3024478 w 3024478"/>
                <a:gd name="connsiteY2" fmla="*/ 566978 h 566978"/>
                <a:gd name="connsiteX3" fmla="*/ 0 w 3024478"/>
                <a:gd name="connsiteY3" fmla="*/ 566978 h 566978"/>
                <a:gd name="connsiteX4" fmla="*/ 0 w 3024478"/>
                <a:gd name="connsiteY4" fmla="*/ 0 h 566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4478" h="566978">
                  <a:moveTo>
                    <a:pt x="0" y="0"/>
                  </a:moveTo>
                  <a:lnTo>
                    <a:pt x="3024478" y="0"/>
                  </a:lnTo>
                  <a:lnTo>
                    <a:pt x="3024478" y="566978"/>
                  </a:lnTo>
                  <a:lnTo>
                    <a:pt x="0" y="566978"/>
                  </a:lnTo>
                  <a:lnTo>
                    <a:pt x="0" y="0"/>
                  </a:lnTo>
                  <a:close/>
                </a:path>
              </a:pathLst>
            </a:custGeom>
            <a:pattFill prst="pct5">
              <a:fgClr>
                <a:schemeClr val="accent1"/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spc="300" dirty="0">
                  <a:solidFill>
                    <a:schemeClr val="tx1"/>
                  </a:solidFill>
                </a:rPr>
                <a:t>QQ</a:t>
              </a:r>
              <a:r>
                <a:rPr lang="zh-CN" altLang="en-US" b="1" spc="300" dirty="0">
                  <a:solidFill>
                    <a:schemeClr val="tx1"/>
                  </a:solidFill>
                </a:rPr>
                <a:t>群：</a:t>
              </a:r>
              <a:r>
                <a:rPr lang="en-US" altLang="zh-CN" b="1" spc="300" dirty="0">
                  <a:solidFill>
                    <a:srgbClr val="FF0000"/>
                  </a:solidFill>
                </a:rPr>
                <a:t>1030485380</a:t>
              </a:r>
              <a:r>
                <a:rPr lang="zh-CN" altLang="en-US" b="1" spc="300" dirty="0">
                  <a:solidFill>
                    <a:schemeClr val="tx1"/>
                  </a:solidFill>
                </a:rPr>
                <a:t>（加群答案：阿噜）</a:t>
              </a:r>
            </a:p>
          </p:txBody>
        </p:sp>
      </p:grp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099" y="1130300"/>
            <a:ext cx="6240885" cy="2863201"/>
          </a:xfrm>
        </p:spPr>
        <p:txBody>
          <a:bodyPr/>
          <a:lstStyle/>
          <a:p>
            <a:r>
              <a:rPr lang="en-US" altLang="zh-CN" dirty="0" err="1">
                <a:solidFill>
                  <a:srgbClr val="355B96"/>
                </a:solidFill>
                <a:latin typeface="Arial Rounded MT Bold" panose="020F0704030504030204" pitchFamily="34" charset="0"/>
              </a:rPr>
              <a:t>cuda</a:t>
            </a:r>
            <a:r>
              <a:rPr lang="zh-CN" altLang="en-US" sz="3600" dirty="0"/>
              <a:t>编程从入门到入土</a:t>
            </a:r>
            <a:endParaRPr lang="zh-CN" altLang="en-US" b="0" spc="6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爱学习的阿噜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21/8</a:t>
            </a:r>
          </a:p>
        </p:txBody>
      </p:sp>
      <p:grpSp>
        <p:nvGrpSpPr>
          <p:cNvPr id="422" name="组合 421">
            <a:extLst>
              <a:ext uri="{FF2B5EF4-FFF2-40B4-BE49-F238E27FC236}">
                <a16:creationId xmlns:a16="http://schemas.microsoft.com/office/drawing/2014/main" id="{0F8071FB-87E2-48FE-8DDD-DEABDF6DA927}"/>
              </a:ext>
            </a:extLst>
          </p:cNvPr>
          <p:cNvGrpSpPr/>
          <p:nvPr/>
        </p:nvGrpSpPr>
        <p:grpSpPr>
          <a:xfrm>
            <a:off x="673099" y="656780"/>
            <a:ext cx="1538695" cy="913600"/>
            <a:chOff x="880821" y="1531872"/>
            <a:chExt cx="2509480" cy="1490004"/>
          </a:xfrm>
        </p:grpSpPr>
        <p:sp>
          <p:nvSpPr>
            <p:cNvPr id="423" name="矩形 422">
              <a:extLst>
                <a:ext uri="{FF2B5EF4-FFF2-40B4-BE49-F238E27FC236}">
                  <a16:creationId xmlns:a16="http://schemas.microsoft.com/office/drawing/2014/main" id="{6C791420-EE2A-40DB-8EAB-2731F4252DE1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cs typeface="+mn-ea"/>
                <a:sym typeface="+mn-lt"/>
              </a:endParaRPr>
            </a:p>
          </p:txBody>
        </p:sp>
        <p:grpSp>
          <p:nvGrpSpPr>
            <p:cNvPr id="424" name="组合 423">
              <a:extLst>
                <a:ext uri="{FF2B5EF4-FFF2-40B4-BE49-F238E27FC236}">
                  <a16:creationId xmlns:a16="http://schemas.microsoft.com/office/drawing/2014/main" id="{582F101A-6B40-43F4-A596-C70D69557293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425" name="文本框 424">
                <a:extLst>
                  <a:ext uri="{FF2B5EF4-FFF2-40B4-BE49-F238E27FC236}">
                    <a16:creationId xmlns:a16="http://schemas.microsoft.com/office/drawing/2014/main" id="{7D089596-C0A2-442D-AF15-BA73936B92D7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16600">
                    <a:latin typeface="+mn-lt"/>
                  </a:rPr>
                  <a:t>RE</a:t>
                </a:r>
                <a:r>
                  <a:rPr lang="en-US" altLang="zh-CN" sz="100">
                    <a:latin typeface="+mn-lt"/>
                  </a:rPr>
                  <a:t> </a:t>
                </a:r>
                <a:r>
                  <a:rPr lang="en-US" altLang="zh-CN" sz="16600">
                    <a:latin typeface="+mn-lt"/>
                  </a:rPr>
                  <a:t>PORT</a:t>
                </a:r>
                <a:endParaRPr lang="zh-CN" altLang="en-US" sz="16600" dirty="0">
                  <a:latin typeface="+mn-lt"/>
                </a:endParaRPr>
              </a:p>
            </p:txBody>
          </p:sp>
          <p:sp>
            <p:nvSpPr>
              <p:cNvPr id="426" name="文本框 425">
                <a:extLst>
                  <a:ext uri="{FF2B5EF4-FFF2-40B4-BE49-F238E27FC236}">
                    <a16:creationId xmlns:a16="http://schemas.microsoft.com/office/drawing/2014/main" id="{71A9E6B0-D27E-428B-9243-019CFCD43352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latin typeface="Impact" panose="020B0806030902050204" pitchFamily="34" charset="0"/>
                  </a:rPr>
                  <a:t>2</a:t>
                </a:r>
                <a:r>
                  <a:rPr lang="en-US" altLang="zh-CN" sz="100" dirty="0">
                    <a:latin typeface="Impact" panose="020B0806030902050204" pitchFamily="34" charset="0"/>
                  </a:rPr>
                  <a:t> </a:t>
                </a:r>
                <a:r>
                  <a:rPr lang="en-US" altLang="zh-CN" sz="9600" dirty="0">
                    <a:latin typeface="Impact" panose="020B0806030902050204" pitchFamily="34" charset="0"/>
                  </a:rPr>
                  <a:t>021</a:t>
                </a:r>
                <a:endParaRPr lang="zh-CN" altLang="en-US" sz="9600" dirty="0">
                  <a:latin typeface="Impact" panose="020B0806030902050204" pitchFamily="34" charset="0"/>
                </a:endParaRPr>
              </a:p>
            </p:txBody>
          </p:sp>
        </p:grpSp>
      </p:grpSp>
      <p:grpSp>
        <p:nvGrpSpPr>
          <p:cNvPr id="19" name="组合 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2EBE6CC-D5D8-45F7-B623-28BF99D4ABEF}"/>
              </a:ext>
            </a:extLst>
          </p:cNvPr>
          <p:cNvGrpSpPr>
            <a:grpSpLocks noChangeAspect="1"/>
          </p:cNvGrpSpPr>
          <p:nvPr/>
        </p:nvGrpSpPr>
        <p:grpSpPr>
          <a:xfrm>
            <a:off x="5111764" y="3482655"/>
            <a:ext cx="902176" cy="814571"/>
            <a:chOff x="3820850" y="1577975"/>
            <a:chExt cx="4550300" cy="4108450"/>
          </a:xfrm>
        </p:grpSpPr>
        <p:sp>
          <p:nvSpPr>
            <p:cNvPr id="20" name="iSļïḑè">
              <a:extLst>
                <a:ext uri="{FF2B5EF4-FFF2-40B4-BE49-F238E27FC236}">
                  <a16:creationId xmlns:a16="http://schemas.microsoft.com/office/drawing/2014/main" id="{C30A3780-0337-4A1F-ADDD-74D5946B25A1}"/>
                </a:ext>
              </a:extLst>
            </p:cNvPr>
            <p:cNvSpPr/>
            <p:nvPr/>
          </p:nvSpPr>
          <p:spPr bwMode="auto">
            <a:xfrm>
              <a:off x="6564982" y="1833786"/>
              <a:ext cx="682157" cy="767429"/>
            </a:xfrm>
            <a:custGeom>
              <a:avLst/>
              <a:gdLst>
                <a:gd name="T0" fmla="*/ 51 w 51"/>
                <a:gd name="T1" fmla="*/ 47 h 57"/>
                <a:gd name="T2" fmla="*/ 42 w 51"/>
                <a:gd name="T3" fmla="*/ 37 h 57"/>
                <a:gd name="T4" fmla="*/ 43 w 51"/>
                <a:gd name="T5" fmla="*/ 36 h 57"/>
                <a:gd name="T6" fmla="*/ 46 w 51"/>
                <a:gd name="T7" fmla="*/ 32 h 57"/>
                <a:gd name="T8" fmla="*/ 47 w 51"/>
                <a:gd name="T9" fmla="*/ 31 h 57"/>
                <a:gd name="T10" fmla="*/ 46 w 51"/>
                <a:gd name="T11" fmla="*/ 29 h 57"/>
                <a:gd name="T12" fmla="*/ 43 w 51"/>
                <a:gd name="T13" fmla="*/ 11 h 57"/>
                <a:gd name="T14" fmla="*/ 41 w 51"/>
                <a:gd name="T15" fmla="*/ 2 h 57"/>
                <a:gd name="T16" fmla="*/ 41 w 51"/>
                <a:gd name="T17" fmla="*/ 0 h 57"/>
                <a:gd name="T18" fmla="*/ 32 w 51"/>
                <a:gd name="T19" fmla="*/ 3 h 57"/>
                <a:gd name="T20" fmla="*/ 22 w 51"/>
                <a:gd name="T21" fmla="*/ 6 h 57"/>
                <a:gd name="T22" fmla="*/ 0 w 51"/>
                <a:gd name="T23" fmla="*/ 13 h 57"/>
                <a:gd name="T24" fmla="*/ 2 w 51"/>
                <a:gd name="T25" fmla="*/ 23 h 57"/>
                <a:gd name="T26" fmla="*/ 6 w 51"/>
                <a:gd name="T27" fmla="*/ 28 h 57"/>
                <a:gd name="T28" fmla="*/ 6 w 51"/>
                <a:gd name="T29" fmla="*/ 28 h 57"/>
                <a:gd name="T30" fmla="*/ 4 w 51"/>
                <a:gd name="T31" fmla="*/ 40 h 57"/>
                <a:gd name="T32" fmla="*/ 11 w 51"/>
                <a:gd name="T33" fmla="*/ 43 h 57"/>
                <a:gd name="T34" fmla="*/ 18 w 51"/>
                <a:gd name="T35" fmla="*/ 56 h 57"/>
                <a:gd name="T36" fmla="*/ 27 w 51"/>
                <a:gd name="T37" fmla="*/ 54 h 57"/>
                <a:gd name="T38" fmla="*/ 30 w 51"/>
                <a:gd name="T39" fmla="*/ 51 h 57"/>
                <a:gd name="T40" fmla="*/ 35 w 51"/>
                <a:gd name="T41" fmla="*/ 57 h 57"/>
                <a:gd name="T42" fmla="*/ 51 w 51"/>
                <a:gd name="T43" fmla="*/ 4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" h="57">
                  <a:moveTo>
                    <a:pt x="51" y="47"/>
                  </a:moveTo>
                  <a:cubicBezTo>
                    <a:pt x="42" y="37"/>
                    <a:pt x="42" y="37"/>
                    <a:pt x="42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40" y="53"/>
                    <a:pt x="46" y="50"/>
                    <a:pt x="51" y="47"/>
                  </a:cubicBezTo>
                </a:path>
              </a:pathLst>
            </a:custGeom>
            <a:solidFill>
              <a:srgbClr val="FDC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$lîḓê">
              <a:extLst>
                <a:ext uri="{FF2B5EF4-FFF2-40B4-BE49-F238E27FC236}">
                  <a16:creationId xmlns:a16="http://schemas.microsoft.com/office/drawing/2014/main" id="{BF31EA2D-BD8A-4351-91E3-5AD360D04BDC}"/>
                </a:ext>
              </a:extLst>
            </p:cNvPr>
            <p:cNvSpPr/>
            <p:nvPr/>
          </p:nvSpPr>
          <p:spPr bwMode="auto">
            <a:xfrm>
              <a:off x="6789786" y="1833786"/>
              <a:ext cx="387589" cy="488365"/>
            </a:xfrm>
            <a:custGeom>
              <a:avLst/>
              <a:gdLst>
                <a:gd name="T0" fmla="*/ 29 w 29"/>
                <a:gd name="T1" fmla="*/ 29 h 36"/>
                <a:gd name="T2" fmla="*/ 29 w 29"/>
                <a:gd name="T3" fmla="*/ 32 h 36"/>
                <a:gd name="T4" fmla="*/ 26 w 29"/>
                <a:gd name="T5" fmla="*/ 36 h 36"/>
                <a:gd name="T6" fmla="*/ 17 w 29"/>
                <a:gd name="T7" fmla="*/ 30 h 36"/>
                <a:gd name="T8" fmla="*/ 20 w 29"/>
                <a:gd name="T9" fmla="*/ 24 h 36"/>
                <a:gd name="T10" fmla="*/ 18 w 29"/>
                <a:gd name="T11" fmla="*/ 19 h 36"/>
                <a:gd name="T12" fmla="*/ 12 w 29"/>
                <a:gd name="T13" fmla="*/ 18 h 36"/>
                <a:gd name="T14" fmla="*/ 11 w 29"/>
                <a:gd name="T15" fmla="*/ 22 h 36"/>
                <a:gd name="T16" fmla="*/ 1 w 29"/>
                <a:gd name="T17" fmla="*/ 12 h 36"/>
                <a:gd name="T18" fmla="*/ 5 w 29"/>
                <a:gd name="T19" fmla="*/ 6 h 36"/>
                <a:gd name="T20" fmla="*/ 24 w 29"/>
                <a:gd name="T21" fmla="*/ 0 h 36"/>
                <a:gd name="T22" fmla="*/ 29 w 29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36">
                  <a:moveTo>
                    <a:pt x="29" y="29"/>
                  </a:moveTo>
                  <a:cubicBezTo>
                    <a:pt x="29" y="32"/>
                    <a:pt x="29" y="32"/>
                    <a:pt x="29" y="32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18" y="31"/>
                    <a:pt x="17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18"/>
                    <a:pt x="0" y="12"/>
                    <a:pt x="1" y="1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29"/>
                    <a:pt x="29" y="29"/>
                    <a:pt x="29" y="29"/>
                  </a:cubicBezTo>
                </a:path>
              </a:pathLst>
            </a:custGeom>
            <a:solidFill>
              <a:srgbClr val="5C39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ṣ1iḍe">
              <a:extLst>
                <a:ext uri="{FF2B5EF4-FFF2-40B4-BE49-F238E27FC236}">
                  <a16:creationId xmlns:a16="http://schemas.microsoft.com/office/drawing/2014/main" id="{0A2C994D-4B1A-4A34-ABDD-F6F557CBB048}"/>
                </a:ext>
              </a:extLst>
            </p:cNvPr>
            <p:cNvSpPr/>
            <p:nvPr/>
          </p:nvSpPr>
          <p:spPr bwMode="auto">
            <a:xfrm>
              <a:off x="6564982" y="1864793"/>
              <a:ext cx="550379" cy="348833"/>
            </a:xfrm>
            <a:custGeom>
              <a:avLst/>
              <a:gdLst>
                <a:gd name="T0" fmla="*/ 32 w 41"/>
                <a:gd name="T1" fmla="*/ 1 h 26"/>
                <a:gd name="T2" fmla="*/ 32 w 41"/>
                <a:gd name="T3" fmla="*/ 1 h 26"/>
                <a:gd name="T4" fmla="*/ 32 w 41"/>
                <a:gd name="T5" fmla="*/ 1 h 26"/>
                <a:gd name="T6" fmla="*/ 22 w 41"/>
                <a:gd name="T7" fmla="*/ 4 h 26"/>
                <a:gd name="T8" fmla="*/ 0 w 41"/>
                <a:gd name="T9" fmla="*/ 11 h 26"/>
                <a:gd name="T10" fmla="*/ 2 w 41"/>
                <a:gd name="T11" fmla="*/ 21 h 26"/>
                <a:gd name="T12" fmla="*/ 6 w 41"/>
                <a:gd name="T13" fmla="*/ 26 h 26"/>
                <a:gd name="T14" fmla="*/ 25 w 41"/>
                <a:gd name="T15" fmla="*/ 18 h 26"/>
                <a:gd name="T16" fmla="*/ 18 w 41"/>
                <a:gd name="T17" fmla="*/ 10 h 26"/>
                <a:gd name="T18" fmla="*/ 18 w 41"/>
                <a:gd name="T19" fmla="*/ 10 h 26"/>
                <a:gd name="T20" fmla="*/ 22 w 41"/>
                <a:gd name="T21" fmla="*/ 4 h 26"/>
                <a:gd name="T22" fmla="*/ 32 w 41"/>
                <a:gd name="T23" fmla="*/ 1 h 26"/>
                <a:gd name="T24" fmla="*/ 41 w 41"/>
                <a:gd name="T25" fmla="*/ 0 h 26"/>
                <a:gd name="T26" fmla="*/ 41 w 41"/>
                <a:gd name="T27" fmla="*/ 0 h 26"/>
                <a:gd name="T28" fmla="*/ 41 w 41"/>
                <a:gd name="T29" fmla="*/ 1 h 26"/>
                <a:gd name="T30" fmla="*/ 41 w 41"/>
                <a:gd name="T3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" h="26">
                  <a:moveTo>
                    <a:pt x="32" y="1"/>
                  </a:move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10" y="24"/>
                    <a:pt x="17" y="21"/>
                    <a:pt x="25" y="18"/>
                  </a:cubicBezTo>
                  <a:cubicBezTo>
                    <a:pt x="21" y="14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32" y="1"/>
                    <a:pt x="32" y="1"/>
                    <a:pt x="32" y="1"/>
                  </a:cubicBezTo>
                  <a:moveTo>
                    <a:pt x="41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0"/>
                    <a:pt x="41" y="0"/>
                    <a:pt x="41" y="0"/>
                  </a:cubicBezTo>
                </a:path>
              </a:pathLst>
            </a:custGeom>
            <a:solidFill>
              <a:srgbClr val="FDBA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îṡḷiďè">
              <a:extLst>
                <a:ext uri="{FF2B5EF4-FFF2-40B4-BE49-F238E27FC236}">
                  <a16:creationId xmlns:a16="http://schemas.microsoft.com/office/drawing/2014/main" id="{8141A9A4-59F7-4C70-9D16-AC8D12E8238F}"/>
                </a:ext>
              </a:extLst>
            </p:cNvPr>
            <p:cNvSpPr/>
            <p:nvPr/>
          </p:nvSpPr>
          <p:spPr bwMode="auto">
            <a:xfrm>
              <a:off x="6805290" y="1864793"/>
              <a:ext cx="333329" cy="240308"/>
            </a:xfrm>
            <a:custGeom>
              <a:avLst/>
              <a:gdLst>
                <a:gd name="T0" fmla="*/ 23 w 25"/>
                <a:gd name="T1" fmla="*/ 0 h 18"/>
                <a:gd name="T2" fmla="*/ 14 w 25"/>
                <a:gd name="T3" fmla="*/ 1 h 18"/>
                <a:gd name="T4" fmla="*/ 4 w 25"/>
                <a:gd name="T5" fmla="*/ 4 h 18"/>
                <a:gd name="T6" fmla="*/ 0 w 25"/>
                <a:gd name="T7" fmla="*/ 10 h 18"/>
                <a:gd name="T8" fmla="*/ 0 w 25"/>
                <a:gd name="T9" fmla="*/ 10 h 18"/>
                <a:gd name="T10" fmla="*/ 7 w 25"/>
                <a:gd name="T11" fmla="*/ 18 h 18"/>
                <a:gd name="T12" fmla="*/ 25 w 25"/>
                <a:gd name="T13" fmla="*/ 9 h 18"/>
                <a:gd name="T14" fmla="*/ 23 w 25"/>
                <a:gd name="T15" fmla="*/ 1 h 18"/>
                <a:gd name="T16" fmla="*/ 23 w 25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8">
                  <a:moveTo>
                    <a:pt x="23" y="0"/>
                  </a:moveTo>
                  <a:cubicBezTo>
                    <a:pt x="20" y="0"/>
                    <a:pt x="17" y="0"/>
                    <a:pt x="14" y="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3" y="14"/>
                    <a:pt x="7" y="18"/>
                  </a:cubicBezTo>
                  <a:cubicBezTo>
                    <a:pt x="13" y="15"/>
                    <a:pt x="20" y="11"/>
                    <a:pt x="25" y="9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3722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şľîḍe">
              <a:extLst>
                <a:ext uri="{FF2B5EF4-FFF2-40B4-BE49-F238E27FC236}">
                  <a16:creationId xmlns:a16="http://schemas.microsoft.com/office/drawing/2014/main" id="{099064EE-55A8-4317-86A8-41F95EE623DC}"/>
                </a:ext>
              </a:extLst>
            </p:cNvPr>
            <p:cNvSpPr/>
            <p:nvPr/>
          </p:nvSpPr>
          <p:spPr bwMode="auto">
            <a:xfrm>
              <a:off x="6402197" y="1826032"/>
              <a:ext cx="844947" cy="426351"/>
            </a:xfrm>
            <a:custGeom>
              <a:avLst/>
              <a:gdLst>
                <a:gd name="T0" fmla="*/ 10 w 63"/>
                <a:gd name="T1" fmla="*/ 19 h 32"/>
                <a:gd name="T2" fmla="*/ 3 w 63"/>
                <a:gd name="T3" fmla="*/ 23 h 32"/>
                <a:gd name="T4" fmla="*/ 3 w 63"/>
                <a:gd name="T5" fmla="*/ 31 h 32"/>
                <a:gd name="T6" fmla="*/ 60 w 63"/>
                <a:gd name="T7" fmla="*/ 5 h 32"/>
                <a:gd name="T8" fmla="*/ 53 w 63"/>
                <a:gd name="T9" fmla="*/ 3 h 32"/>
                <a:gd name="T10" fmla="*/ 10 w 63"/>
                <a:gd name="T1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32">
                  <a:moveTo>
                    <a:pt x="10" y="19"/>
                  </a:moveTo>
                  <a:cubicBezTo>
                    <a:pt x="10" y="19"/>
                    <a:pt x="4" y="21"/>
                    <a:pt x="3" y="23"/>
                  </a:cubicBezTo>
                  <a:cubicBezTo>
                    <a:pt x="2" y="25"/>
                    <a:pt x="0" y="32"/>
                    <a:pt x="3" y="31"/>
                  </a:cubicBezTo>
                  <a:cubicBezTo>
                    <a:pt x="7" y="30"/>
                    <a:pt x="63" y="8"/>
                    <a:pt x="60" y="5"/>
                  </a:cubicBezTo>
                  <a:cubicBezTo>
                    <a:pt x="58" y="3"/>
                    <a:pt x="59" y="0"/>
                    <a:pt x="53" y="3"/>
                  </a:cubicBezTo>
                  <a:lnTo>
                    <a:pt x="10" y="19"/>
                  </a:lnTo>
                  <a:close/>
                </a:path>
              </a:pathLst>
            </a:custGeom>
            <a:solidFill>
              <a:srgbClr val="EB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$ḻîḋé">
              <a:extLst>
                <a:ext uri="{FF2B5EF4-FFF2-40B4-BE49-F238E27FC236}">
                  <a16:creationId xmlns:a16="http://schemas.microsoft.com/office/drawing/2014/main" id="{B33C9EBA-9FF7-4305-A294-070D6D38D352}"/>
                </a:ext>
              </a:extLst>
            </p:cNvPr>
            <p:cNvSpPr/>
            <p:nvPr/>
          </p:nvSpPr>
          <p:spPr bwMode="auto">
            <a:xfrm>
              <a:off x="6471960" y="1577975"/>
              <a:ext cx="682157" cy="550379"/>
            </a:xfrm>
            <a:custGeom>
              <a:avLst/>
              <a:gdLst>
                <a:gd name="T0" fmla="*/ 51 w 51"/>
                <a:gd name="T1" fmla="*/ 21 h 41"/>
                <a:gd name="T2" fmla="*/ 29 w 51"/>
                <a:gd name="T3" fmla="*/ 34 h 41"/>
                <a:gd name="T4" fmla="*/ 4 w 51"/>
                <a:gd name="T5" fmla="*/ 41 h 41"/>
                <a:gd name="T6" fmla="*/ 1 w 51"/>
                <a:gd name="T7" fmla="*/ 31 h 41"/>
                <a:gd name="T8" fmla="*/ 1 w 51"/>
                <a:gd name="T9" fmla="*/ 28 h 41"/>
                <a:gd name="T10" fmla="*/ 20 w 51"/>
                <a:gd name="T11" fmla="*/ 3 h 41"/>
                <a:gd name="T12" fmla="*/ 48 w 51"/>
                <a:gd name="T13" fmla="*/ 14 h 41"/>
                <a:gd name="T14" fmla="*/ 48 w 51"/>
                <a:gd name="T15" fmla="*/ 14 h 41"/>
                <a:gd name="T16" fmla="*/ 51 w 51"/>
                <a:gd name="T1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41">
                  <a:moveTo>
                    <a:pt x="51" y="21"/>
                  </a:moveTo>
                  <a:cubicBezTo>
                    <a:pt x="51" y="21"/>
                    <a:pt x="44" y="28"/>
                    <a:pt x="29" y="34"/>
                  </a:cubicBezTo>
                  <a:cubicBezTo>
                    <a:pt x="16" y="39"/>
                    <a:pt x="4" y="41"/>
                    <a:pt x="4" y="41"/>
                  </a:cubicBezTo>
                  <a:cubicBezTo>
                    <a:pt x="3" y="37"/>
                    <a:pt x="2" y="34"/>
                    <a:pt x="1" y="31"/>
                  </a:cubicBezTo>
                  <a:cubicBezTo>
                    <a:pt x="1" y="30"/>
                    <a:pt x="1" y="29"/>
                    <a:pt x="1" y="28"/>
                  </a:cubicBezTo>
                  <a:cubicBezTo>
                    <a:pt x="0" y="14"/>
                    <a:pt x="9" y="5"/>
                    <a:pt x="20" y="3"/>
                  </a:cubicBezTo>
                  <a:cubicBezTo>
                    <a:pt x="31" y="0"/>
                    <a:pt x="42" y="5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9" y="16"/>
                    <a:pt x="50" y="19"/>
                    <a:pt x="51" y="21"/>
                  </a:cubicBezTo>
                  <a:close/>
                </a:path>
              </a:pathLst>
            </a:custGeom>
            <a:solidFill>
              <a:srgbClr val="FD9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1îḓé">
              <a:extLst>
                <a:ext uri="{FF2B5EF4-FFF2-40B4-BE49-F238E27FC236}">
                  <a16:creationId xmlns:a16="http://schemas.microsoft.com/office/drawing/2014/main" id="{366AAC7C-0C01-4E78-B855-AA1C4E15EC4E}"/>
                </a:ext>
              </a:extLst>
            </p:cNvPr>
            <p:cNvSpPr/>
            <p:nvPr/>
          </p:nvSpPr>
          <p:spPr bwMode="auto">
            <a:xfrm>
              <a:off x="6487464" y="1663247"/>
              <a:ext cx="627897" cy="333329"/>
            </a:xfrm>
            <a:custGeom>
              <a:avLst/>
              <a:gdLst>
                <a:gd name="T0" fmla="*/ 47 w 47"/>
                <a:gd name="T1" fmla="*/ 8 h 25"/>
                <a:gd name="T2" fmla="*/ 47 w 47"/>
                <a:gd name="T3" fmla="*/ 8 h 25"/>
                <a:gd name="T4" fmla="*/ 45 w 47"/>
                <a:gd name="T5" fmla="*/ 7 h 25"/>
                <a:gd name="T6" fmla="*/ 43 w 47"/>
                <a:gd name="T7" fmla="*/ 7 h 25"/>
                <a:gd name="T8" fmla="*/ 42 w 47"/>
                <a:gd name="T9" fmla="*/ 6 h 25"/>
                <a:gd name="T10" fmla="*/ 40 w 47"/>
                <a:gd name="T11" fmla="*/ 5 h 25"/>
                <a:gd name="T12" fmla="*/ 38 w 47"/>
                <a:gd name="T13" fmla="*/ 5 h 25"/>
                <a:gd name="T14" fmla="*/ 37 w 47"/>
                <a:gd name="T15" fmla="*/ 4 h 25"/>
                <a:gd name="T16" fmla="*/ 36 w 47"/>
                <a:gd name="T17" fmla="*/ 4 h 25"/>
                <a:gd name="T18" fmla="*/ 33 w 47"/>
                <a:gd name="T19" fmla="*/ 4 h 25"/>
                <a:gd name="T20" fmla="*/ 31 w 47"/>
                <a:gd name="T21" fmla="*/ 3 h 25"/>
                <a:gd name="T22" fmla="*/ 28 w 47"/>
                <a:gd name="T23" fmla="*/ 3 h 25"/>
                <a:gd name="T24" fmla="*/ 26 w 47"/>
                <a:gd name="T25" fmla="*/ 3 h 25"/>
                <a:gd name="T26" fmla="*/ 24 w 47"/>
                <a:gd name="T27" fmla="*/ 3 h 25"/>
                <a:gd name="T28" fmla="*/ 24 w 47"/>
                <a:gd name="T29" fmla="*/ 3 h 25"/>
                <a:gd name="T30" fmla="*/ 23 w 47"/>
                <a:gd name="T31" fmla="*/ 3 h 25"/>
                <a:gd name="T32" fmla="*/ 22 w 47"/>
                <a:gd name="T33" fmla="*/ 3 h 25"/>
                <a:gd name="T34" fmla="*/ 20 w 47"/>
                <a:gd name="T35" fmla="*/ 4 h 25"/>
                <a:gd name="T36" fmla="*/ 18 w 47"/>
                <a:gd name="T37" fmla="*/ 5 h 25"/>
                <a:gd name="T38" fmla="*/ 16 w 47"/>
                <a:gd name="T39" fmla="*/ 5 h 25"/>
                <a:gd name="T40" fmla="*/ 16 w 47"/>
                <a:gd name="T41" fmla="*/ 6 h 25"/>
                <a:gd name="T42" fmla="*/ 15 w 47"/>
                <a:gd name="T43" fmla="*/ 6 h 25"/>
                <a:gd name="T44" fmla="*/ 14 w 47"/>
                <a:gd name="T45" fmla="*/ 7 h 25"/>
                <a:gd name="T46" fmla="*/ 13 w 47"/>
                <a:gd name="T47" fmla="*/ 8 h 25"/>
                <a:gd name="T48" fmla="*/ 9 w 47"/>
                <a:gd name="T49" fmla="*/ 11 h 25"/>
                <a:gd name="T50" fmla="*/ 7 w 47"/>
                <a:gd name="T51" fmla="*/ 13 h 25"/>
                <a:gd name="T52" fmla="*/ 6 w 47"/>
                <a:gd name="T53" fmla="*/ 15 h 25"/>
                <a:gd name="T54" fmla="*/ 3 w 47"/>
                <a:gd name="T55" fmla="*/ 19 h 25"/>
                <a:gd name="T56" fmla="*/ 1 w 47"/>
                <a:gd name="T57" fmla="*/ 23 h 25"/>
                <a:gd name="T58" fmla="*/ 0 w 47"/>
                <a:gd name="T59" fmla="*/ 25 h 25"/>
                <a:gd name="T60" fmla="*/ 0 w 47"/>
                <a:gd name="T61" fmla="*/ 22 h 25"/>
                <a:gd name="T62" fmla="*/ 1 w 47"/>
                <a:gd name="T63" fmla="*/ 19 h 25"/>
                <a:gd name="T64" fmla="*/ 3 w 47"/>
                <a:gd name="T65" fmla="*/ 14 h 25"/>
                <a:gd name="T66" fmla="*/ 5 w 47"/>
                <a:gd name="T67" fmla="*/ 12 h 25"/>
                <a:gd name="T68" fmla="*/ 6 w 47"/>
                <a:gd name="T69" fmla="*/ 9 h 25"/>
                <a:gd name="T70" fmla="*/ 11 w 47"/>
                <a:gd name="T71" fmla="*/ 5 h 25"/>
                <a:gd name="T72" fmla="*/ 16 w 47"/>
                <a:gd name="T73" fmla="*/ 2 h 25"/>
                <a:gd name="T74" fmla="*/ 19 w 47"/>
                <a:gd name="T75" fmla="*/ 1 h 25"/>
                <a:gd name="T76" fmla="*/ 21 w 47"/>
                <a:gd name="T77" fmla="*/ 0 h 25"/>
                <a:gd name="T78" fmla="*/ 22 w 47"/>
                <a:gd name="T79" fmla="*/ 0 h 25"/>
                <a:gd name="T80" fmla="*/ 23 w 47"/>
                <a:gd name="T81" fmla="*/ 0 h 25"/>
                <a:gd name="T82" fmla="*/ 24 w 47"/>
                <a:gd name="T83" fmla="*/ 0 h 25"/>
                <a:gd name="T84" fmla="*/ 26 w 47"/>
                <a:gd name="T85" fmla="*/ 0 h 25"/>
                <a:gd name="T86" fmla="*/ 29 w 47"/>
                <a:gd name="T87" fmla="*/ 0 h 25"/>
                <a:gd name="T88" fmla="*/ 31 w 47"/>
                <a:gd name="T89" fmla="*/ 0 h 25"/>
                <a:gd name="T90" fmla="*/ 34 w 47"/>
                <a:gd name="T91" fmla="*/ 1 h 25"/>
                <a:gd name="T92" fmla="*/ 37 w 47"/>
                <a:gd name="T93" fmla="*/ 2 h 25"/>
                <a:gd name="T94" fmla="*/ 38 w 47"/>
                <a:gd name="T95" fmla="*/ 2 h 25"/>
                <a:gd name="T96" fmla="*/ 39 w 47"/>
                <a:gd name="T97" fmla="*/ 3 h 25"/>
                <a:gd name="T98" fmla="*/ 41 w 47"/>
                <a:gd name="T99" fmla="*/ 4 h 25"/>
                <a:gd name="T100" fmla="*/ 42 w 47"/>
                <a:gd name="T101" fmla="*/ 5 h 25"/>
                <a:gd name="T102" fmla="*/ 44 w 47"/>
                <a:gd name="T103" fmla="*/ 6 h 25"/>
                <a:gd name="T104" fmla="*/ 45 w 47"/>
                <a:gd name="T105" fmla="*/ 7 h 25"/>
                <a:gd name="T106" fmla="*/ 47 w 47"/>
                <a:gd name="T10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" h="25">
                  <a:moveTo>
                    <a:pt x="47" y="8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5" y="7"/>
                  </a:cubicBezTo>
                  <a:cubicBezTo>
                    <a:pt x="44" y="7"/>
                    <a:pt x="44" y="7"/>
                    <a:pt x="43" y="7"/>
                  </a:cubicBezTo>
                  <a:cubicBezTo>
                    <a:pt x="43" y="6"/>
                    <a:pt x="42" y="6"/>
                    <a:pt x="42" y="6"/>
                  </a:cubicBezTo>
                  <a:cubicBezTo>
                    <a:pt x="41" y="6"/>
                    <a:pt x="41" y="6"/>
                    <a:pt x="40" y="5"/>
                  </a:cubicBezTo>
                  <a:cubicBezTo>
                    <a:pt x="39" y="5"/>
                    <a:pt x="39" y="5"/>
                    <a:pt x="38" y="5"/>
                  </a:cubicBezTo>
                  <a:cubicBezTo>
                    <a:pt x="38" y="5"/>
                    <a:pt x="37" y="4"/>
                    <a:pt x="37" y="4"/>
                  </a:cubicBezTo>
                  <a:cubicBezTo>
                    <a:pt x="37" y="4"/>
                    <a:pt x="36" y="4"/>
                    <a:pt x="36" y="4"/>
                  </a:cubicBezTo>
                  <a:cubicBezTo>
                    <a:pt x="35" y="4"/>
                    <a:pt x="34" y="4"/>
                    <a:pt x="33" y="4"/>
                  </a:cubicBezTo>
                  <a:cubicBezTo>
                    <a:pt x="33" y="3"/>
                    <a:pt x="32" y="3"/>
                    <a:pt x="31" y="3"/>
                  </a:cubicBezTo>
                  <a:cubicBezTo>
                    <a:pt x="30" y="3"/>
                    <a:pt x="29" y="3"/>
                    <a:pt x="28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5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19" y="4"/>
                    <a:pt x="19" y="4"/>
                    <a:pt x="18" y="5"/>
                  </a:cubicBezTo>
                  <a:cubicBezTo>
                    <a:pt x="17" y="5"/>
                    <a:pt x="17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7"/>
                    <a:pt x="14" y="7"/>
                  </a:cubicBezTo>
                  <a:cubicBezTo>
                    <a:pt x="14" y="7"/>
                    <a:pt x="13" y="7"/>
                    <a:pt x="13" y="8"/>
                  </a:cubicBezTo>
                  <a:cubicBezTo>
                    <a:pt x="11" y="9"/>
                    <a:pt x="10" y="10"/>
                    <a:pt x="9" y="11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7"/>
                    <a:pt x="4" y="18"/>
                    <a:pt x="3" y="19"/>
                  </a:cubicBezTo>
                  <a:cubicBezTo>
                    <a:pt x="2" y="21"/>
                    <a:pt x="2" y="22"/>
                    <a:pt x="1" y="23"/>
                  </a:cubicBezTo>
                  <a:cubicBezTo>
                    <a:pt x="1" y="24"/>
                    <a:pt x="1" y="24"/>
                    <a:pt x="0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1"/>
                    <a:pt x="1" y="20"/>
                    <a:pt x="1" y="19"/>
                  </a:cubicBezTo>
                  <a:cubicBezTo>
                    <a:pt x="2" y="17"/>
                    <a:pt x="2" y="16"/>
                    <a:pt x="3" y="14"/>
                  </a:cubicBezTo>
                  <a:cubicBezTo>
                    <a:pt x="4" y="13"/>
                    <a:pt x="4" y="13"/>
                    <a:pt x="5" y="12"/>
                  </a:cubicBezTo>
                  <a:cubicBezTo>
                    <a:pt x="5" y="11"/>
                    <a:pt x="6" y="10"/>
                    <a:pt x="6" y="9"/>
                  </a:cubicBezTo>
                  <a:cubicBezTo>
                    <a:pt x="8" y="8"/>
                    <a:pt x="9" y="6"/>
                    <a:pt x="11" y="5"/>
                  </a:cubicBezTo>
                  <a:cubicBezTo>
                    <a:pt x="12" y="4"/>
                    <a:pt x="14" y="3"/>
                    <a:pt x="16" y="2"/>
                  </a:cubicBezTo>
                  <a:cubicBezTo>
                    <a:pt x="17" y="1"/>
                    <a:pt x="18" y="1"/>
                    <a:pt x="19" y="1"/>
                  </a:cubicBezTo>
                  <a:cubicBezTo>
                    <a:pt x="20" y="0"/>
                    <a:pt x="20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0"/>
                    <a:pt x="31" y="0"/>
                    <a:pt x="31" y="0"/>
                  </a:cubicBezTo>
                  <a:cubicBezTo>
                    <a:pt x="32" y="0"/>
                    <a:pt x="33" y="1"/>
                    <a:pt x="34" y="1"/>
                  </a:cubicBezTo>
                  <a:cubicBezTo>
                    <a:pt x="35" y="1"/>
                    <a:pt x="36" y="2"/>
                    <a:pt x="37" y="2"/>
                  </a:cubicBezTo>
                  <a:cubicBezTo>
                    <a:pt x="37" y="2"/>
                    <a:pt x="37" y="2"/>
                    <a:pt x="38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40" y="3"/>
                    <a:pt x="41" y="4"/>
                  </a:cubicBezTo>
                  <a:cubicBezTo>
                    <a:pt x="41" y="4"/>
                    <a:pt x="42" y="4"/>
                    <a:pt x="42" y="5"/>
                  </a:cubicBezTo>
                  <a:cubicBezTo>
                    <a:pt x="43" y="5"/>
                    <a:pt x="43" y="5"/>
                    <a:pt x="44" y="6"/>
                  </a:cubicBezTo>
                  <a:cubicBezTo>
                    <a:pt x="44" y="6"/>
                    <a:pt x="45" y="6"/>
                    <a:pt x="45" y="7"/>
                  </a:cubicBezTo>
                  <a:cubicBezTo>
                    <a:pt x="46" y="7"/>
                    <a:pt x="46" y="7"/>
                    <a:pt x="47" y="8"/>
                  </a:cubicBezTo>
                  <a:close/>
                </a:path>
              </a:pathLst>
            </a:custGeom>
            <a:solidFill>
              <a:srgbClr val="EB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ľíḋè">
              <a:extLst>
                <a:ext uri="{FF2B5EF4-FFF2-40B4-BE49-F238E27FC236}">
                  <a16:creationId xmlns:a16="http://schemas.microsoft.com/office/drawing/2014/main" id="{52FA7F06-3CCD-48D4-8940-DC73B3C52C73}"/>
                </a:ext>
              </a:extLst>
            </p:cNvPr>
            <p:cNvSpPr/>
            <p:nvPr/>
          </p:nvSpPr>
          <p:spPr bwMode="auto">
            <a:xfrm>
              <a:off x="6727772" y="1903550"/>
              <a:ext cx="240308" cy="170539"/>
            </a:xfrm>
            <a:custGeom>
              <a:avLst/>
              <a:gdLst>
                <a:gd name="T0" fmla="*/ 3 w 18"/>
                <a:gd name="T1" fmla="*/ 13 h 13"/>
                <a:gd name="T2" fmla="*/ 1 w 18"/>
                <a:gd name="T3" fmla="*/ 6 h 13"/>
                <a:gd name="T4" fmla="*/ 14 w 18"/>
                <a:gd name="T5" fmla="*/ 1 h 13"/>
                <a:gd name="T6" fmla="*/ 18 w 18"/>
                <a:gd name="T7" fmla="*/ 8 h 13"/>
                <a:gd name="T8" fmla="*/ 3 w 18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3">
                  <a:moveTo>
                    <a:pt x="3" y="13"/>
                  </a:moveTo>
                  <a:cubicBezTo>
                    <a:pt x="3" y="13"/>
                    <a:pt x="0" y="8"/>
                    <a:pt x="1" y="6"/>
                  </a:cubicBezTo>
                  <a:cubicBezTo>
                    <a:pt x="1" y="5"/>
                    <a:pt x="13" y="0"/>
                    <a:pt x="14" y="1"/>
                  </a:cubicBezTo>
                  <a:cubicBezTo>
                    <a:pt x="15" y="1"/>
                    <a:pt x="18" y="7"/>
                    <a:pt x="18" y="8"/>
                  </a:cubicBezTo>
                  <a:lnTo>
                    <a:pt x="3" y="13"/>
                  </a:lnTo>
                  <a:close/>
                </a:path>
              </a:pathLst>
            </a:custGeom>
            <a:solidFill>
              <a:srgbClr val="EB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şḷïḋè">
              <a:extLst>
                <a:ext uri="{FF2B5EF4-FFF2-40B4-BE49-F238E27FC236}">
                  <a16:creationId xmlns:a16="http://schemas.microsoft.com/office/drawing/2014/main" id="{7B0F483D-36C3-47B0-9439-B317211FD54E}"/>
                </a:ext>
              </a:extLst>
            </p:cNvPr>
            <p:cNvSpPr/>
            <p:nvPr/>
          </p:nvSpPr>
          <p:spPr bwMode="auto">
            <a:xfrm>
              <a:off x="6161889" y="3740725"/>
              <a:ext cx="403093" cy="348833"/>
            </a:xfrm>
            <a:custGeom>
              <a:avLst/>
              <a:gdLst>
                <a:gd name="T0" fmla="*/ 30 w 30"/>
                <a:gd name="T1" fmla="*/ 0 h 26"/>
                <a:gd name="T2" fmla="*/ 12 w 30"/>
                <a:gd name="T3" fmla="*/ 2 h 26"/>
                <a:gd name="T4" fmla="*/ 0 w 30"/>
                <a:gd name="T5" fmla="*/ 26 h 26"/>
                <a:gd name="T6" fmla="*/ 22 w 30"/>
                <a:gd name="T7" fmla="*/ 22 h 26"/>
                <a:gd name="T8" fmla="*/ 30 w 30"/>
                <a:gd name="T9" fmla="*/ 9 h 26"/>
                <a:gd name="T10" fmla="*/ 30 w 30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6">
                  <a:moveTo>
                    <a:pt x="30" y="0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9" y="9"/>
                    <a:pt x="30" y="9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EBB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îS1iḓé">
              <a:extLst>
                <a:ext uri="{FF2B5EF4-FFF2-40B4-BE49-F238E27FC236}">
                  <a16:creationId xmlns:a16="http://schemas.microsoft.com/office/drawing/2014/main" id="{BA8C4ED2-29EF-426C-BAE8-34FE177C30D9}"/>
                </a:ext>
              </a:extLst>
            </p:cNvPr>
            <p:cNvSpPr/>
            <p:nvPr/>
          </p:nvSpPr>
          <p:spPr bwMode="auto">
            <a:xfrm>
              <a:off x="6456457" y="2678728"/>
              <a:ext cx="736422" cy="1178271"/>
            </a:xfrm>
            <a:custGeom>
              <a:avLst/>
              <a:gdLst>
                <a:gd name="T0" fmla="*/ 95 w 95"/>
                <a:gd name="T1" fmla="*/ 19 h 152"/>
                <a:gd name="T2" fmla="*/ 66 w 95"/>
                <a:gd name="T3" fmla="*/ 95 h 152"/>
                <a:gd name="T4" fmla="*/ 14 w 95"/>
                <a:gd name="T5" fmla="*/ 152 h 152"/>
                <a:gd name="T6" fmla="*/ 0 w 95"/>
                <a:gd name="T7" fmla="*/ 142 h 152"/>
                <a:gd name="T8" fmla="*/ 43 w 95"/>
                <a:gd name="T9" fmla="*/ 78 h 152"/>
                <a:gd name="T10" fmla="*/ 64 w 95"/>
                <a:gd name="T11" fmla="*/ 0 h 152"/>
                <a:gd name="T12" fmla="*/ 95 w 95"/>
                <a:gd name="T13" fmla="*/ 1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52">
                  <a:moveTo>
                    <a:pt x="95" y="19"/>
                  </a:moveTo>
                  <a:lnTo>
                    <a:pt x="66" y="95"/>
                  </a:lnTo>
                  <a:lnTo>
                    <a:pt x="14" y="152"/>
                  </a:lnTo>
                  <a:lnTo>
                    <a:pt x="0" y="142"/>
                  </a:lnTo>
                  <a:lnTo>
                    <a:pt x="43" y="78"/>
                  </a:lnTo>
                  <a:lnTo>
                    <a:pt x="64" y="0"/>
                  </a:lnTo>
                  <a:lnTo>
                    <a:pt x="95" y="19"/>
                  </a:lnTo>
                  <a:close/>
                </a:path>
              </a:pathLst>
            </a:custGeom>
            <a:solidFill>
              <a:srgbClr val="EBB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ṥḷïďé">
              <a:extLst>
                <a:ext uri="{FF2B5EF4-FFF2-40B4-BE49-F238E27FC236}">
                  <a16:creationId xmlns:a16="http://schemas.microsoft.com/office/drawing/2014/main" id="{FC7DDE5B-7F36-46FE-97A9-63F790B0D0C8}"/>
                </a:ext>
              </a:extLst>
            </p:cNvPr>
            <p:cNvSpPr/>
            <p:nvPr/>
          </p:nvSpPr>
          <p:spPr bwMode="auto">
            <a:xfrm>
              <a:off x="7316907" y="3833746"/>
              <a:ext cx="775178" cy="1217032"/>
            </a:xfrm>
            <a:custGeom>
              <a:avLst/>
              <a:gdLst>
                <a:gd name="T0" fmla="*/ 35 w 58"/>
                <a:gd name="T1" fmla="*/ 59 h 91"/>
                <a:gd name="T2" fmla="*/ 21 w 58"/>
                <a:gd name="T3" fmla="*/ 1 h 91"/>
                <a:gd name="T4" fmla="*/ 20 w 58"/>
                <a:gd name="T5" fmla="*/ 0 h 91"/>
                <a:gd name="T6" fmla="*/ 0 w 58"/>
                <a:gd name="T7" fmla="*/ 43 h 91"/>
                <a:gd name="T8" fmla="*/ 11 w 58"/>
                <a:gd name="T9" fmla="*/ 70 h 91"/>
                <a:gd name="T10" fmla="*/ 30 w 58"/>
                <a:gd name="T11" fmla="*/ 91 h 91"/>
                <a:gd name="T12" fmla="*/ 58 w 58"/>
                <a:gd name="T13" fmla="*/ 89 h 91"/>
                <a:gd name="T14" fmla="*/ 35 w 58"/>
                <a:gd name="T15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91">
                  <a:moveTo>
                    <a:pt x="35" y="59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7" y="7"/>
                    <a:pt x="7" y="28"/>
                    <a:pt x="0" y="43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58" y="89"/>
                    <a:pt x="58" y="89"/>
                    <a:pt x="58" y="89"/>
                  </a:cubicBezTo>
                  <a:lnTo>
                    <a:pt x="35" y="59"/>
                  </a:lnTo>
                  <a:close/>
                </a:path>
              </a:pathLst>
            </a:custGeom>
            <a:solidFill>
              <a:srgbClr val="EB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ṧľíďe">
              <a:extLst>
                <a:ext uri="{FF2B5EF4-FFF2-40B4-BE49-F238E27FC236}">
                  <a16:creationId xmlns:a16="http://schemas.microsoft.com/office/drawing/2014/main" id="{97490F92-38C4-4D85-9E36-23B8510AF1D3}"/>
                </a:ext>
              </a:extLst>
            </p:cNvPr>
            <p:cNvSpPr/>
            <p:nvPr/>
          </p:nvSpPr>
          <p:spPr bwMode="auto">
            <a:xfrm>
              <a:off x="7720000" y="5027521"/>
              <a:ext cx="651150" cy="643400"/>
            </a:xfrm>
            <a:custGeom>
              <a:avLst/>
              <a:gdLst>
                <a:gd name="T0" fmla="*/ 48 w 84"/>
                <a:gd name="T1" fmla="*/ 0 h 83"/>
                <a:gd name="T2" fmla="*/ 0 w 84"/>
                <a:gd name="T3" fmla="*/ 3 h 83"/>
                <a:gd name="T4" fmla="*/ 32 w 84"/>
                <a:gd name="T5" fmla="*/ 50 h 83"/>
                <a:gd name="T6" fmla="*/ 10 w 84"/>
                <a:gd name="T7" fmla="*/ 62 h 83"/>
                <a:gd name="T8" fmla="*/ 5 w 84"/>
                <a:gd name="T9" fmla="*/ 83 h 83"/>
                <a:gd name="T10" fmla="*/ 84 w 84"/>
                <a:gd name="T11" fmla="*/ 62 h 83"/>
                <a:gd name="T12" fmla="*/ 48 w 84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3">
                  <a:moveTo>
                    <a:pt x="48" y="0"/>
                  </a:moveTo>
                  <a:lnTo>
                    <a:pt x="0" y="3"/>
                  </a:lnTo>
                  <a:lnTo>
                    <a:pt x="32" y="50"/>
                  </a:lnTo>
                  <a:lnTo>
                    <a:pt x="10" y="62"/>
                  </a:lnTo>
                  <a:lnTo>
                    <a:pt x="5" y="83"/>
                  </a:lnTo>
                  <a:lnTo>
                    <a:pt x="84" y="62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$ļiḍe">
              <a:extLst>
                <a:ext uri="{FF2B5EF4-FFF2-40B4-BE49-F238E27FC236}">
                  <a16:creationId xmlns:a16="http://schemas.microsoft.com/office/drawing/2014/main" id="{567D2D37-86F6-459C-93CB-11863016A1BE}"/>
                </a:ext>
              </a:extLst>
            </p:cNvPr>
            <p:cNvSpPr/>
            <p:nvPr/>
          </p:nvSpPr>
          <p:spPr bwMode="auto">
            <a:xfrm>
              <a:off x="6929318" y="3360885"/>
              <a:ext cx="0" cy="31007"/>
            </a:xfrm>
            <a:custGeom>
              <a:avLst/>
              <a:gdLst>
                <a:gd name="T0" fmla="*/ 0 h 4"/>
                <a:gd name="T1" fmla="*/ 4 h 4"/>
                <a:gd name="T2" fmla="*/ 0 h 4"/>
                <a:gd name="T3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ṧļiḋé">
              <a:extLst>
                <a:ext uri="{FF2B5EF4-FFF2-40B4-BE49-F238E27FC236}">
                  <a16:creationId xmlns:a16="http://schemas.microsoft.com/office/drawing/2014/main" id="{353FB4DD-2677-4AA8-95EB-6304ED4E0235}"/>
                </a:ext>
              </a:extLst>
            </p:cNvPr>
            <p:cNvSpPr/>
            <p:nvPr/>
          </p:nvSpPr>
          <p:spPr bwMode="auto">
            <a:xfrm>
              <a:off x="6929318" y="3391892"/>
              <a:ext cx="93021" cy="418596"/>
            </a:xfrm>
            <a:custGeom>
              <a:avLst/>
              <a:gdLst>
                <a:gd name="T0" fmla="*/ 5 w 12"/>
                <a:gd name="T1" fmla="*/ 26 h 54"/>
                <a:gd name="T2" fmla="*/ 12 w 12"/>
                <a:gd name="T3" fmla="*/ 54 h 54"/>
                <a:gd name="T4" fmla="*/ 0 w 12"/>
                <a:gd name="T5" fmla="*/ 0 h 54"/>
                <a:gd name="T6" fmla="*/ 5 w 12"/>
                <a:gd name="T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54">
                  <a:moveTo>
                    <a:pt x="5" y="26"/>
                  </a:moveTo>
                  <a:lnTo>
                    <a:pt x="12" y="54"/>
                  </a:lnTo>
                  <a:lnTo>
                    <a:pt x="0" y="0"/>
                  </a:lnTo>
                  <a:lnTo>
                    <a:pt x="5" y="26"/>
                  </a:lnTo>
                  <a:close/>
                </a:path>
              </a:pathLst>
            </a:custGeom>
            <a:solidFill>
              <a:srgbClr val="FDC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ŝḻîďe">
              <a:extLst>
                <a:ext uri="{FF2B5EF4-FFF2-40B4-BE49-F238E27FC236}">
                  <a16:creationId xmlns:a16="http://schemas.microsoft.com/office/drawing/2014/main" id="{6455CCEF-312C-4B29-A366-75E237FFA4BF}"/>
                </a:ext>
              </a:extLst>
            </p:cNvPr>
            <p:cNvSpPr/>
            <p:nvPr/>
          </p:nvSpPr>
          <p:spPr bwMode="auto">
            <a:xfrm>
              <a:off x="7177375" y="4624428"/>
              <a:ext cx="15504" cy="364336"/>
            </a:xfrm>
            <a:custGeom>
              <a:avLst/>
              <a:gdLst>
                <a:gd name="T0" fmla="*/ 0 w 1"/>
                <a:gd name="T1" fmla="*/ 27 h 27"/>
                <a:gd name="T2" fmla="*/ 1 w 1"/>
                <a:gd name="T3" fmla="*/ 0 h 27"/>
                <a:gd name="T4" fmla="*/ 0 w 1"/>
                <a:gd name="T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7">
                  <a:moveTo>
                    <a:pt x="0" y="27"/>
                  </a:moveTo>
                  <a:cubicBezTo>
                    <a:pt x="1" y="12"/>
                    <a:pt x="1" y="0"/>
                    <a:pt x="1" y="0"/>
                  </a:cubicBezTo>
                  <a:cubicBezTo>
                    <a:pt x="1" y="0"/>
                    <a:pt x="0" y="10"/>
                    <a:pt x="0" y="27"/>
                  </a:cubicBezTo>
                  <a:close/>
                </a:path>
              </a:pathLst>
            </a:custGeom>
            <a:solidFill>
              <a:srgbClr val="FDC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şľîḑe">
              <a:extLst>
                <a:ext uri="{FF2B5EF4-FFF2-40B4-BE49-F238E27FC236}">
                  <a16:creationId xmlns:a16="http://schemas.microsoft.com/office/drawing/2014/main" id="{FA38224E-BC2D-4A90-8F21-D449D303C929}"/>
                </a:ext>
              </a:extLst>
            </p:cNvPr>
            <p:cNvSpPr/>
            <p:nvPr/>
          </p:nvSpPr>
          <p:spPr bwMode="auto">
            <a:xfrm>
              <a:off x="6836297" y="2655475"/>
              <a:ext cx="534876" cy="627897"/>
            </a:xfrm>
            <a:custGeom>
              <a:avLst/>
              <a:gdLst>
                <a:gd name="T0" fmla="*/ 6 w 40"/>
                <a:gd name="T1" fmla="*/ 41 h 47"/>
                <a:gd name="T2" fmla="*/ 28 w 40"/>
                <a:gd name="T3" fmla="*/ 47 h 47"/>
                <a:gd name="T4" fmla="*/ 40 w 40"/>
                <a:gd name="T5" fmla="*/ 5 h 47"/>
                <a:gd name="T6" fmla="*/ 10 w 40"/>
                <a:gd name="T7" fmla="*/ 0 h 47"/>
                <a:gd name="T8" fmla="*/ 0 w 40"/>
                <a:gd name="T9" fmla="*/ 19 h 47"/>
                <a:gd name="T10" fmla="*/ 6 w 40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47">
                  <a:moveTo>
                    <a:pt x="6" y="41"/>
                  </a:moveTo>
                  <a:cubicBezTo>
                    <a:pt x="28" y="47"/>
                    <a:pt x="28" y="47"/>
                    <a:pt x="28" y="47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3" y="9"/>
                    <a:pt x="0" y="19"/>
                  </a:cubicBezTo>
                  <a:lnTo>
                    <a:pt x="6" y="41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ṣḻïḍé">
              <a:extLst>
                <a:ext uri="{FF2B5EF4-FFF2-40B4-BE49-F238E27FC236}">
                  <a16:creationId xmlns:a16="http://schemas.microsoft.com/office/drawing/2014/main" id="{EF771ADC-36FA-4686-99BA-C42AAE2EB03C}"/>
                </a:ext>
              </a:extLst>
            </p:cNvPr>
            <p:cNvSpPr/>
            <p:nvPr/>
          </p:nvSpPr>
          <p:spPr bwMode="auto">
            <a:xfrm>
              <a:off x="7006836" y="2469433"/>
              <a:ext cx="364336" cy="131783"/>
            </a:xfrm>
            <a:custGeom>
              <a:avLst/>
              <a:gdLst>
                <a:gd name="T0" fmla="*/ 18 w 27"/>
                <a:gd name="T1" fmla="*/ 0 h 10"/>
                <a:gd name="T2" fmla="*/ 0 w 27"/>
                <a:gd name="T3" fmla="*/ 8 h 10"/>
                <a:gd name="T4" fmla="*/ 0 w 27"/>
                <a:gd name="T5" fmla="*/ 8 h 10"/>
                <a:gd name="T6" fmla="*/ 0 w 27"/>
                <a:gd name="T7" fmla="*/ 8 h 10"/>
                <a:gd name="T8" fmla="*/ 27 w 27"/>
                <a:gd name="T9" fmla="*/ 10 h 10"/>
                <a:gd name="T10" fmla="*/ 18 w 27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0">
                  <a:moveTo>
                    <a:pt x="18" y="0"/>
                  </a:moveTo>
                  <a:cubicBezTo>
                    <a:pt x="13" y="2"/>
                    <a:pt x="5" y="5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7" y="10"/>
                    <a:pt x="27" y="10"/>
                    <a:pt x="27" y="1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ḻîďê">
              <a:extLst>
                <a:ext uri="{FF2B5EF4-FFF2-40B4-BE49-F238E27FC236}">
                  <a16:creationId xmlns:a16="http://schemas.microsoft.com/office/drawing/2014/main" id="{8B35AEA7-7B11-4166-B213-B1580F5FFF55}"/>
                </a:ext>
              </a:extLst>
            </p:cNvPr>
            <p:cNvSpPr/>
            <p:nvPr/>
          </p:nvSpPr>
          <p:spPr bwMode="auto">
            <a:xfrm>
              <a:off x="6836297" y="2570203"/>
              <a:ext cx="775178" cy="2480571"/>
            </a:xfrm>
            <a:custGeom>
              <a:avLst/>
              <a:gdLst>
                <a:gd name="T0" fmla="*/ 58 w 58"/>
                <a:gd name="T1" fmla="*/ 91 h 185"/>
                <a:gd name="T2" fmla="*/ 46 w 58"/>
                <a:gd name="T3" fmla="*/ 53 h 185"/>
                <a:gd name="T4" fmla="*/ 51 w 58"/>
                <a:gd name="T5" fmla="*/ 14 h 185"/>
                <a:gd name="T6" fmla="*/ 40 w 58"/>
                <a:gd name="T7" fmla="*/ 2 h 185"/>
                <a:gd name="T8" fmla="*/ 13 w 58"/>
                <a:gd name="T9" fmla="*/ 0 h 185"/>
                <a:gd name="T10" fmla="*/ 10 w 58"/>
                <a:gd name="T11" fmla="*/ 6 h 185"/>
                <a:gd name="T12" fmla="*/ 40 w 58"/>
                <a:gd name="T13" fmla="*/ 11 h 185"/>
                <a:gd name="T14" fmla="*/ 28 w 58"/>
                <a:gd name="T15" fmla="*/ 53 h 185"/>
                <a:gd name="T16" fmla="*/ 6 w 58"/>
                <a:gd name="T17" fmla="*/ 47 h 185"/>
                <a:gd name="T18" fmla="*/ 7 w 58"/>
                <a:gd name="T19" fmla="*/ 59 h 185"/>
                <a:gd name="T20" fmla="*/ 7 w 58"/>
                <a:gd name="T21" fmla="*/ 61 h 185"/>
                <a:gd name="T22" fmla="*/ 14 w 58"/>
                <a:gd name="T23" fmla="*/ 92 h 185"/>
                <a:gd name="T24" fmla="*/ 0 w 58"/>
                <a:gd name="T25" fmla="*/ 138 h 185"/>
                <a:gd name="T26" fmla="*/ 3 w 58"/>
                <a:gd name="T27" fmla="*/ 185 h 185"/>
                <a:gd name="T28" fmla="*/ 3 w 58"/>
                <a:gd name="T29" fmla="*/ 183 h 185"/>
                <a:gd name="T30" fmla="*/ 26 w 58"/>
                <a:gd name="T31" fmla="*/ 183 h 185"/>
                <a:gd name="T32" fmla="*/ 26 w 58"/>
                <a:gd name="T33" fmla="*/ 185 h 185"/>
                <a:gd name="T34" fmla="*/ 26 w 58"/>
                <a:gd name="T35" fmla="*/ 185 h 185"/>
                <a:gd name="T36" fmla="*/ 26 w 58"/>
                <a:gd name="T37" fmla="*/ 180 h 185"/>
                <a:gd name="T38" fmla="*/ 27 w 58"/>
                <a:gd name="T39" fmla="*/ 153 h 185"/>
                <a:gd name="T40" fmla="*/ 36 w 58"/>
                <a:gd name="T41" fmla="*/ 137 h 185"/>
                <a:gd name="T42" fmla="*/ 56 w 58"/>
                <a:gd name="T43" fmla="*/ 94 h 185"/>
                <a:gd name="T44" fmla="*/ 58 w 58"/>
                <a:gd name="T45" fmla="*/ 9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" h="185">
                  <a:moveTo>
                    <a:pt x="58" y="91"/>
                  </a:moveTo>
                  <a:cubicBezTo>
                    <a:pt x="46" y="53"/>
                    <a:pt x="46" y="53"/>
                    <a:pt x="46" y="53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" y="185"/>
                    <a:pt x="3" y="185"/>
                    <a:pt x="3" y="185"/>
                  </a:cubicBezTo>
                  <a:cubicBezTo>
                    <a:pt x="3" y="183"/>
                    <a:pt x="3" y="183"/>
                    <a:pt x="3" y="183"/>
                  </a:cubicBezTo>
                  <a:cubicBezTo>
                    <a:pt x="26" y="183"/>
                    <a:pt x="26" y="183"/>
                    <a:pt x="26" y="183"/>
                  </a:cubicBezTo>
                  <a:cubicBezTo>
                    <a:pt x="26" y="184"/>
                    <a:pt x="26" y="185"/>
                    <a:pt x="26" y="185"/>
                  </a:cubicBezTo>
                  <a:cubicBezTo>
                    <a:pt x="26" y="185"/>
                    <a:pt x="26" y="185"/>
                    <a:pt x="26" y="185"/>
                  </a:cubicBezTo>
                  <a:cubicBezTo>
                    <a:pt x="26" y="183"/>
                    <a:pt x="26" y="181"/>
                    <a:pt x="26" y="180"/>
                  </a:cubicBezTo>
                  <a:cubicBezTo>
                    <a:pt x="26" y="163"/>
                    <a:pt x="27" y="153"/>
                    <a:pt x="27" y="153"/>
                  </a:cubicBezTo>
                  <a:cubicBezTo>
                    <a:pt x="27" y="154"/>
                    <a:pt x="31" y="147"/>
                    <a:pt x="36" y="137"/>
                  </a:cubicBezTo>
                  <a:cubicBezTo>
                    <a:pt x="43" y="122"/>
                    <a:pt x="53" y="101"/>
                    <a:pt x="56" y="94"/>
                  </a:cubicBezTo>
                  <a:cubicBezTo>
                    <a:pt x="57" y="92"/>
                    <a:pt x="58" y="91"/>
                    <a:pt x="58" y="91"/>
                  </a:cubicBezTo>
                  <a:close/>
                </a:path>
              </a:pathLst>
            </a:custGeom>
            <a:solidFill>
              <a:srgbClr val="FD9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ṥļïḋê">
              <a:extLst>
                <a:ext uri="{FF2B5EF4-FFF2-40B4-BE49-F238E27FC236}">
                  <a16:creationId xmlns:a16="http://schemas.microsoft.com/office/drawing/2014/main" id="{266A9BE6-9D32-4160-B24A-6B5DAD1DED1E}"/>
                </a:ext>
              </a:extLst>
            </p:cNvPr>
            <p:cNvSpPr/>
            <p:nvPr/>
          </p:nvSpPr>
          <p:spPr bwMode="auto">
            <a:xfrm>
              <a:off x="6603743" y="5027521"/>
              <a:ext cx="573632" cy="658904"/>
            </a:xfrm>
            <a:custGeom>
              <a:avLst/>
              <a:gdLst>
                <a:gd name="T0" fmla="*/ 20 w 43"/>
                <a:gd name="T1" fmla="*/ 0 h 49"/>
                <a:gd name="T2" fmla="*/ 20 w 43"/>
                <a:gd name="T3" fmla="*/ 2 h 49"/>
                <a:gd name="T4" fmla="*/ 22 w 43"/>
                <a:gd name="T5" fmla="*/ 31 h 49"/>
                <a:gd name="T6" fmla="*/ 5 w 43"/>
                <a:gd name="T7" fmla="*/ 38 h 49"/>
                <a:gd name="T8" fmla="*/ 0 w 43"/>
                <a:gd name="T9" fmla="*/ 49 h 49"/>
                <a:gd name="T10" fmla="*/ 43 w 43"/>
                <a:gd name="T11" fmla="*/ 45 h 49"/>
                <a:gd name="T12" fmla="*/ 43 w 43"/>
                <a:gd name="T13" fmla="*/ 10 h 49"/>
                <a:gd name="T14" fmla="*/ 43 w 43"/>
                <a:gd name="T15" fmla="*/ 2 h 49"/>
                <a:gd name="T16" fmla="*/ 43 w 43"/>
                <a:gd name="T17" fmla="*/ 0 h 49"/>
                <a:gd name="T18" fmla="*/ 20 w 43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9">
                  <a:moveTo>
                    <a:pt x="20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45"/>
                    <a:pt x="43" y="28"/>
                    <a:pt x="43" y="10"/>
                  </a:cubicBezTo>
                  <a:cubicBezTo>
                    <a:pt x="43" y="8"/>
                    <a:pt x="43" y="5"/>
                    <a:pt x="43" y="2"/>
                  </a:cubicBezTo>
                  <a:cubicBezTo>
                    <a:pt x="43" y="2"/>
                    <a:pt x="43" y="1"/>
                    <a:pt x="43" y="0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şľiḍe">
              <a:extLst>
                <a:ext uri="{FF2B5EF4-FFF2-40B4-BE49-F238E27FC236}">
                  <a16:creationId xmlns:a16="http://schemas.microsoft.com/office/drawing/2014/main" id="{8821A35F-FEB9-4212-9241-C3D7F6FC4403}"/>
                </a:ext>
              </a:extLst>
            </p:cNvPr>
            <p:cNvSpPr/>
            <p:nvPr/>
          </p:nvSpPr>
          <p:spPr bwMode="auto">
            <a:xfrm>
              <a:off x="5239429" y="3430654"/>
              <a:ext cx="2635607" cy="844947"/>
            </a:xfrm>
            <a:custGeom>
              <a:avLst/>
              <a:gdLst>
                <a:gd name="T0" fmla="*/ 3 w 340"/>
                <a:gd name="T1" fmla="*/ 109 h 109"/>
                <a:gd name="T2" fmla="*/ 340 w 340"/>
                <a:gd name="T3" fmla="*/ 12 h 109"/>
                <a:gd name="T4" fmla="*/ 335 w 340"/>
                <a:gd name="T5" fmla="*/ 0 h 109"/>
                <a:gd name="T6" fmla="*/ 0 w 340"/>
                <a:gd name="T7" fmla="*/ 97 h 109"/>
                <a:gd name="T8" fmla="*/ 3 w 340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09">
                  <a:moveTo>
                    <a:pt x="3" y="109"/>
                  </a:moveTo>
                  <a:lnTo>
                    <a:pt x="340" y="12"/>
                  </a:lnTo>
                  <a:lnTo>
                    <a:pt x="335" y="0"/>
                  </a:lnTo>
                  <a:lnTo>
                    <a:pt x="0" y="97"/>
                  </a:lnTo>
                  <a:lnTo>
                    <a:pt x="3" y="109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$ḷíďê">
              <a:extLst>
                <a:ext uri="{FF2B5EF4-FFF2-40B4-BE49-F238E27FC236}">
                  <a16:creationId xmlns:a16="http://schemas.microsoft.com/office/drawing/2014/main" id="{9A495FF0-794E-4ED9-948B-03A02DACE569}"/>
                </a:ext>
              </a:extLst>
            </p:cNvPr>
            <p:cNvSpPr/>
            <p:nvPr/>
          </p:nvSpPr>
          <p:spPr bwMode="auto">
            <a:xfrm>
              <a:off x="5239429" y="3430654"/>
              <a:ext cx="2635607" cy="844947"/>
            </a:xfrm>
            <a:custGeom>
              <a:avLst/>
              <a:gdLst>
                <a:gd name="T0" fmla="*/ 3 w 340"/>
                <a:gd name="T1" fmla="*/ 109 h 109"/>
                <a:gd name="T2" fmla="*/ 340 w 340"/>
                <a:gd name="T3" fmla="*/ 12 h 109"/>
                <a:gd name="T4" fmla="*/ 335 w 340"/>
                <a:gd name="T5" fmla="*/ 0 h 109"/>
                <a:gd name="T6" fmla="*/ 0 w 340"/>
                <a:gd name="T7" fmla="*/ 97 h 109"/>
                <a:gd name="T8" fmla="*/ 3 w 340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09">
                  <a:moveTo>
                    <a:pt x="3" y="109"/>
                  </a:moveTo>
                  <a:lnTo>
                    <a:pt x="340" y="12"/>
                  </a:lnTo>
                  <a:lnTo>
                    <a:pt x="335" y="0"/>
                  </a:lnTo>
                  <a:lnTo>
                    <a:pt x="0" y="97"/>
                  </a:lnTo>
                  <a:lnTo>
                    <a:pt x="3" y="10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ļíḋê">
              <a:extLst>
                <a:ext uri="{FF2B5EF4-FFF2-40B4-BE49-F238E27FC236}">
                  <a16:creationId xmlns:a16="http://schemas.microsoft.com/office/drawing/2014/main" id="{2B262D60-B78C-416E-AC01-3A339B325FC1}"/>
                </a:ext>
              </a:extLst>
            </p:cNvPr>
            <p:cNvSpPr/>
            <p:nvPr/>
          </p:nvSpPr>
          <p:spPr bwMode="auto">
            <a:xfrm>
              <a:off x="7045592" y="2787253"/>
              <a:ext cx="697661" cy="860450"/>
            </a:xfrm>
            <a:custGeom>
              <a:avLst/>
              <a:gdLst>
                <a:gd name="T0" fmla="*/ 33 w 90"/>
                <a:gd name="T1" fmla="*/ 0 h 111"/>
                <a:gd name="T2" fmla="*/ 90 w 90"/>
                <a:gd name="T3" fmla="*/ 68 h 111"/>
                <a:gd name="T4" fmla="*/ 19 w 90"/>
                <a:gd name="T5" fmla="*/ 111 h 111"/>
                <a:gd name="T6" fmla="*/ 0 w 90"/>
                <a:gd name="T7" fmla="*/ 107 h 111"/>
                <a:gd name="T8" fmla="*/ 47 w 90"/>
                <a:gd name="T9" fmla="*/ 69 h 111"/>
                <a:gd name="T10" fmla="*/ 7 w 90"/>
                <a:gd name="T11" fmla="*/ 23 h 111"/>
                <a:gd name="T12" fmla="*/ 33 w 90"/>
                <a:gd name="T1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11">
                  <a:moveTo>
                    <a:pt x="33" y="0"/>
                  </a:moveTo>
                  <a:lnTo>
                    <a:pt x="90" y="68"/>
                  </a:lnTo>
                  <a:lnTo>
                    <a:pt x="19" y="111"/>
                  </a:lnTo>
                  <a:lnTo>
                    <a:pt x="0" y="107"/>
                  </a:lnTo>
                  <a:lnTo>
                    <a:pt x="47" y="69"/>
                  </a:lnTo>
                  <a:lnTo>
                    <a:pt x="7" y="23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DC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Slide">
              <a:extLst>
                <a:ext uri="{FF2B5EF4-FFF2-40B4-BE49-F238E27FC236}">
                  <a16:creationId xmlns:a16="http://schemas.microsoft.com/office/drawing/2014/main" id="{FFD3B100-5352-400A-B485-A1AC4C958B97}"/>
                </a:ext>
              </a:extLst>
            </p:cNvPr>
            <p:cNvSpPr/>
            <p:nvPr/>
          </p:nvSpPr>
          <p:spPr bwMode="auto">
            <a:xfrm>
              <a:off x="6882807" y="3539179"/>
              <a:ext cx="310071" cy="426351"/>
            </a:xfrm>
            <a:custGeom>
              <a:avLst/>
              <a:gdLst>
                <a:gd name="T0" fmla="*/ 19 w 23"/>
                <a:gd name="T1" fmla="*/ 0 h 32"/>
                <a:gd name="T2" fmla="*/ 4 w 23"/>
                <a:gd name="T3" fmla="*/ 9 h 32"/>
                <a:gd name="T4" fmla="*/ 0 w 23"/>
                <a:gd name="T5" fmla="*/ 32 h 32"/>
                <a:gd name="T6" fmla="*/ 15 w 23"/>
                <a:gd name="T7" fmla="*/ 21 h 32"/>
                <a:gd name="T8" fmla="*/ 23 w 23"/>
                <a:gd name="T9" fmla="*/ 8 h 32"/>
                <a:gd name="T10" fmla="*/ 19 w 23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2">
                  <a:moveTo>
                    <a:pt x="19" y="0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22" y="8"/>
                    <a:pt x="23" y="8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FDCC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şḷïďè">
              <a:extLst>
                <a:ext uri="{FF2B5EF4-FFF2-40B4-BE49-F238E27FC236}">
                  <a16:creationId xmlns:a16="http://schemas.microsoft.com/office/drawing/2014/main" id="{C42D8BFC-C787-439D-B7F9-30D1BFD3C3A6}"/>
                </a:ext>
              </a:extLst>
            </p:cNvPr>
            <p:cNvSpPr/>
            <p:nvPr/>
          </p:nvSpPr>
          <p:spPr bwMode="auto">
            <a:xfrm>
              <a:off x="4929358" y="3833746"/>
              <a:ext cx="899207" cy="658904"/>
            </a:xfrm>
            <a:custGeom>
              <a:avLst/>
              <a:gdLst>
                <a:gd name="T0" fmla="*/ 0 w 67"/>
                <a:gd name="T1" fmla="*/ 35 h 49"/>
                <a:gd name="T2" fmla="*/ 0 w 67"/>
                <a:gd name="T3" fmla="*/ 36 h 49"/>
                <a:gd name="T4" fmla="*/ 27 w 67"/>
                <a:gd name="T5" fmla="*/ 49 h 49"/>
                <a:gd name="T6" fmla="*/ 67 w 67"/>
                <a:gd name="T7" fmla="*/ 39 h 49"/>
                <a:gd name="T8" fmla="*/ 62 w 67"/>
                <a:gd name="T9" fmla="*/ 20 h 49"/>
                <a:gd name="T10" fmla="*/ 62 w 67"/>
                <a:gd name="T11" fmla="*/ 20 h 49"/>
                <a:gd name="T12" fmla="*/ 60 w 67"/>
                <a:gd name="T13" fmla="*/ 14 h 49"/>
                <a:gd name="T14" fmla="*/ 56 w 67"/>
                <a:gd name="T15" fmla="*/ 0 h 49"/>
                <a:gd name="T16" fmla="*/ 19 w 67"/>
                <a:gd name="T17" fmla="*/ 13 h 49"/>
                <a:gd name="T18" fmla="*/ 1 w 67"/>
                <a:gd name="T19" fmla="*/ 32 h 49"/>
                <a:gd name="T20" fmla="*/ 0 w 67"/>
                <a:gd name="T21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49">
                  <a:moveTo>
                    <a:pt x="0" y="35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1" y="39"/>
                    <a:pt x="27" y="49"/>
                    <a:pt x="27" y="4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5" y="26"/>
                    <a:pt x="1" y="32"/>
                  </a:cubicBezTo>
                  <a:cubicBezTo>
                    <a:pt x="0" y="34"/>
                    <a:pt x="0" y="34"/>
                    <a:pt x="0" y="35"/>
                  </a:cubicBezTo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ṣļîḑé">
              <a:extLst>
                <a:ext uri="{FF2B5EF4-FFF2-40B4-BE49-F238E27FC236}">
                  <a16:creationId xmlns:a16="http://schemas.microsoft.com/office/drawing/2014/main" id="{6EF684DC-BCAD-416E-B8DE-09A86428EDA9}"/>
                </a:ext>
              </a:extLst>
            </p:cNvPr>
            <p:cNvSpPr/>
            <p:nvPr/>
          </p:nvSpPr>
          <p:spPr bwMode="auto">
            <a:xfrm>
              <a:off x="5053386" y="4306603"/>
              <a:ext cx="457358" cy="426351"/>
            </a:xfrm>
            <a:custGeom>
              <a:avLst/>
              <a:gdLst>
                <a:gd name="T0" fmla="*/ 41 w 59"/>
                <a:gd name="T1" fmla="*/ 8 h 55"/>
                <a:gd name="T2" fmla="*/ 36 w 59"/>
                <a:gd name="T3" fmla="*/ 0 h 55"/>
                <a:gd name="T4" fmla="*/ 10 w 59"/>
                <a:gd name="T5" fmla="*/ 0 h 55"/>
                <a:gd name="T6" fmla="*/ 0 w 59"/>
                <a:gd name="T7" fmla="*/ 10 h 55"/>
                <a:gd name="T8" fmla="*/ 10 w 59"/>
                <a:gd name="T9" fmla="*/ 25 h 55"/>
                <a:gd name="T10" fmla="*/ 7 w 59"/>
                <a:gd name="T11" fmla="*/ 43 h 55"/>
                <a:gd name="T12" fmla="*/ 20 w 59"/>
                <a:gd name="T13" fmla="*/ 55 h 55"/>
                <a:gd name="T14" fmla="*/ 24 w 59"/>
                <a:gd name="T15" fmla="*/ 39 h 55"/>
                <a:gd name="T16" fmla="*/ 50 w 59"/>
                <a:gd name="T17" fmla="*/ 32 h 55"/>
                <a:gd name="T18" fmla="*/ 59 w 59"/>
                <a:gd name="T19" fmla="*/ 17 h 55"/>
                <a:gd name="T20" fmla="*/ 41 w 59"/>
                <a:gd name="T21" fmla="*/ 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5">
                  <a:moveTo>
                    <a:pt x="41" y="8"/>
                  </a:moveTo>
                  <a:lnTo>
                    <a:pt x="36" y="0"/>
                  </a:lnTo>
                  <a:lnTo>
                    <a:pt x="10" y="0"/>
                  </a:lnTo>
                  <a:lnTo>
                    <a:pt x="0" y="10"/>
                  </a:lnTo>
                  <a:lnTo>
                    <a:pt x="10" y="25"/>
                  </a:lnTo>
                  <a:lnTo>
                    <a:pt x="7" y="43"/>
                  </a:lnTo>
                  <a:lnTo>
                    <a:pt x="20" y="55"/>
                  </a:lnTo>
                  <a:lnTo>
                    <a:pt x="24" y="39"/>
                  </a:lnTo>
                  <a:lnTo>
                    <a:pt x="50" y="32"/>
                  </a:lnTo>
                  <a:lnTo>
                    <a:pt x="59" y="17"/>
                  </a:lnTo>
                  <a:lnTo>
                    <a:pt x="41" y="8"/>
                  </a:lnTo>
                  <a:close/>
                </a:path>
              </a:pathLst>
            </a:custGeom>
            <a:solidFill>
              <a:srgbClr val="5C39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ïṧ1îḋè">
              <a:extLst>
                <a:ext uri="{FF2B5EF4-FFF2-40B4-BE49-F238E27FC236}">
                  <a16:creationId xmlns:a16="http://schemas.microsoft.com/office/drawing/2014/main" id="{936E313B-AA47-4113-813A-BB47AD6DFF59}"/>
                </a:ext>
              </a:extLst>
            </p:cNvPr>
            <p:cNvSpPr/>
            <p:nvPr/>
          </p:nvSpPr>
          <p:spPr bwMode="auto">
            <a:xfrm>
              <a:off x="4944861" y="3833746"/>
              <a:ext cx="790682" cy="426351"/>
            </a:xfrm>
            <a:prstGeom prst="rect">
              <a:avLst/>
            </a:pr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ṥliḓè">
              <a:extLst>
                <a:ext uri="{FF2B5EF4-FFF2-40B4-BE49-F238E27FC236}">
                  <a16:creationId xmlns:a16="http://schemas.microsoft.com/office/drawing/2014/main" id="{CA208411-5593-4800-9C97-2BD14A86E713}"/>
                </a:ext>
              </a:extLst>
            </p:cNvPr>
            <p:cNvSpPr/>
            <p:nvPr/>
          </p:nvSpPr>
          <p:spPr bwMode="auto">
            <a:xfrm>
              <a:off x="3820850" y="4732953"/>
              <a:ext cx="2341039" cy="953472"/>
            </a:xfrm>
            <a:custGeom>
              <a:avLst/>
              <a:gdLst>
                <a:gd name="T0" fmla="*/ 175 w 175"/>
                <a:gd name="T1" fmla="*/ 71 h 71"/>
                <a:gd name="T2" fmla="*/ 0 w 175"/>
                <a:gd name="T3" fmla="*/ 71 h 71"/>
                <a:gd name="T4" fmla="*/ 17 w 175"/>
                <a:gd name="T5" fmla="*/ 36 h 71"/>
                <a:gd name="T6" fmla="*/ 33 w 175"/>
                <a:gd name="T7" fmla="*/ 10 h 71"/>
                <a:gd name="T8" fmla="*/ 37 w 175"/>
                <a:gd name="T9" fmla="*/ 8 h 71"/>
                <a:gd name="T10" fmla="*/ 55 w 175"/>
                <a:gd name="T11" fmla="*/ 0 h 71"/>
                <a:gd name="T12" fmla="*/ 72 w 175"/>
                <a:gd name="T13" fmla="*/ 22 h 71"/>
                <a:gd name="T14" fmla="*/ 83 w 175"/>
                <a:gd name="T15" fmla="*/ 9 h 71"/>
                <a:gd name="T16" fmla="*/ 92 w 175"/>
                <a:gd name="T17" fmla="*/ 9 h 71"/>
                <a:gd name="T18" fmla="*/ 97 w 175"/>
                <a:gd name="T19" fmla="*/ 19 h 71"/>
                <a:gd name="T20" fmla="*/ 114 w 175"/>
                <a:gd name="T21" fmla="*/ 26 h 71"/>
                <a:gd name="T22" fmla="*/ 116 w 175"/>
                <a:gd name="T23" fmla="*/ 41 h 71"/>
                <a:gd name="T24" fmla="*/ 140 w 175"/>
                <a:gd name="T25" fmla="*/ 41 h 71"/>
                <a:gd name="T26" fmla="*/ 157 w 175"/>
                <a:gd name="T27" fmla="*/ 65 h 71"/>
                <a:gd name="T28" fmla="*/ 168 w 175"/>
                <a:gd name="T29" fmla="*/ 59 h 71"/>
                <a:gd name="T30" fmla="*/ 175 w 175"/>
                <a:gd name="T3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5" h="71">
                  <a:moveTo>
                    <a:pt x="175" y="71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33" y="10"/>
                    <a:pt x="33" y="10"/>
                  </a:cubicBezTo>
                  <a:cubicBezTo>
                    <a:pt x="33" y="10"/>
                    <a:pt x="35" y="9"/>
                    <a:pt x="37" y="8"/>
                  </a:cubicBezTo>
                  <a:cubicBezTo>
                    <a:pt x="44" y="6"/>
                    <a:pt x="55" y="0"/>
                    <a:pt x="55" y="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9"/>
                    <a:pt x="91" y="11"/>
                    <a:pt x="92" y="9"/>
                  </a:cubicBezTo>
                  <a:cubicBezTo>
                    <a:pt x="92" y="7"/>
                    <a:pt x="97" y="19"/>
                    <a:pt x="97" y="19"/>
                  </a:cubicBezTo>
                  <a:cubicBezTo>
                    <a:pt x="114" y="26"/>
                    <a:pt x="114" y="26"/>
                    <a:pt x="114" y="26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57" y="65"/>
                    <a:pt x="157" y="65"/>
                    <a:pt x="157" y="65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75" y="71"/>
                    <a:pt x="175" y="71"/>
                    <a:pt x="175" y="71"/>
                  </a:cubicBezTo>
                </a:path>
              </a:pathLst>
            </a:custGeom>
            <a:solidFill>
              <a:srgbClr val="5C39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$lïḓè">
              <a:extLst>
                <a:ext uri="{FF2B5EF4-FFF2-40B4-BE49-F238E27FC236}">
                  <a16:creationId xmlns:a16="http://schemas.microsoft.com/office/drawing/2014/main" id="{A7A9D321-3F87-444F-88FD-44F675E2AC59}"/>
                </a:ext>
              </a:extLst>
            </p:cNvPr>
            <p:cNvSpPr/>
            <p:nvPr/>
          </p:nvSpPr>
          <p:spPr bwMode="auto">
            <a:xfrm>
              <a:off x="3820850" y="4841478"/>
              <a:ext cx="1674385" cy="844947"/>
            </a:xfrm>
            <a:custGeom>
              <a:avLst/>
              <a:gdLst>
                <a:gd name="T0" fmla="*/ 37 w 125"/>
                <a:gd name="T1" fmla="*/ 0 h 63"/>
                <a:gd name="T2" fmla="*/ 37 w 125"/>
                <a:gd name="T3" fmla="*/ 0 h 63"/>
                <a:gd name="T4" fmla="*/ 33 w 125"/>
                <a:gd name="T5" fmla="*/ 2 h 63"/>
                <a:gd name="T6" fmla="*/ 17 w 125"/>
                <a:gd name="T7" fmla="*/ 28 h 63"/>
                <a:gd name="T8" fmla="*/ 0 w 125"/>
                <a:gd name="T9" fmla="*/ 63 h 63"/>
                <a:gd name="T10" fmla="*/ 125 w 125"/>
                <a:gd name="T11" fmla="*/ 63 h 63"/>
                <a:gd name="T12" fmla="*/ 109 w 125"/>
                <a:gd name="T13" fmla="*/ 49 h 63"/>
                <a:gd name="T14" fmla="*/ 92 w 125"/>
                <a:gd name="T15" fmla="*/ 40 h 63"/>
                <a:gd name="T16" fmla="*/ 84 w 125"/>
                <a:gd name="T17" fmla="*/ 28 h 63"/>
                <a:gd name="T18" fmla="*/ 52 w 125"/>
                <a:gd name="T19" fmla="*/ 28 h 63"/>
                <a:gd name="T20" fmla="*/ 37 w 125"/>
                <a:gd name="T2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63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35" y="1"/>
                    <a:pt x="33" y="2"/>
                    <a:pt x="33" y="2"/>
                  </a:cubicBezTo>
                  <a:cubicBezTo>
                    <a:pt x="33" y="2"/>
                    <a:pt x="17" y="28"/>
                    <a:pt x="17" y="2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37" y="0"/>
                    <a:pt x="37" y="0"/>
                    <a:pt x="37" y="0"/>
                  </a:cubicBezTo>
                </a:path>
              </a:pathLst>
            </a:custGeom>
            <a:solidFill>
              <a:srgbClr val="4028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ṧḷíḑé">
              <a:extLst>
                <a:ext uri="{FF2B5EF4-FFF2-40B4-BE49-F238E27FC236}">
                  <a16:creationId xmlns:a16="http://schemas.microsoft.com/office/drawing/2014/main" id="{5AAAEF41-BF85-411F-8CBA-4403535CB16A}"/>
                </a:ext>
              </a:extLst>
            </p:cNvPr>
            <p:cNvSpPr/>
            <p:nvPr/>
          </p:nvSpPr>
          <p:spPr bwMode="auto">
            <a:xfrm>
              <a:off x="5347954" y="4756206"/>
              <a:ext cx="209301" cy="286818"/>
            </a:xfrm>
            <a:custGeom>
              <a:avLst/>
              <a:gdLst>
                <a:gd name="T0" fmla="*/ 0 w 27"/>
                <a:gd name="T1" fmla="*/ 12 h 37"/>
                <a:gd name="T2" fmla="*/ 21 w 27"/>
                <a:gd name="T3" fmla="*/ 0 h 37"/>
                <a:gd name="T4" fmla="*/ 27 w 27"/>
                <a:gd name="T5" fmla="*/ 23 h 37"/>
                <a:gd name="T6" fmla="*/ 14 w 27"/>
                <a:gd name="T7" fmla="*/ 37 h 37"/>
                <a:gd name="T8" fmla="*/ 0 w 27"/>
                <a:gd name="T9" fmla="*/ 1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7">
                  <a:moveTo>
                    <a:pt x="0" y="12"/>
                  </a:moveTo>
                  <a:lnTo>
                    <a:pt x="21" y="0"/>
                  </a:lnTo>
                  <a:lnTo>
                    <a:pt x="27" y="23"/>
                  </a:lnTo>
                  <a:lnTo>
                    <a:pt x="14" y="37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5C39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B65CFC-CCC0-453E-BB49-4CDD52B54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llo </a:t>
            </a:r>
            <a:r>
              <a:rPr lang="en-US" altLang="zh-CN" dirty="0" err="1"/>
              <a:t>gpu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8FD600-10B8-4DB6-8826-EE47A4E02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9DFBF73-AB7D-41C2-A351-B4AEA2E0B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CFE56DF-552B-46E9-8DA8-A4E0D1B3E614}"/>
              </a:ext>
            </a:extLst>
          </p:cNvPr>
          <p:cNvSpPr txBox="1"/>
          <p:nvPr/>
        </p:nvSpPr>
        <p:spPr>
          <a:xfrm>
            <a:off x="669924" y="2551837"/>
            <a:ext cx="1085056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cudaDeviceSynchronize();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与许多 C/C++ 代码不同，核函数启动方式为异步：CPU 代码将继续执行而无需等待核函数完成启动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调用 CUDA 运行时提供的函数 cudaDeviceSynchronize 将导致主机 (CPU) 代码暂作等待，直至设备 (GPU) 代码执行完成，才能在 CPU 上恢复执行。</a:t>
            </a:r>
          </a:p>
        </p:txBody>
      </p:sp>
    </p:spTree>
    <p:extLst>
      <p:ext uri="{BB962C8B-B14F-4D97-AF65-F5344CB8AC3E}">
        <p14:creationId xmlns:p14="http://schemas.microsoft.com/office/powerpoint/2010/main" val="12956620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912F17-0CC6-4CA2-BD25-68D840288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编译程序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5FAEB17-E8C0-4618-B97F-925F16C6C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FCCE6C7-CB6A-4993-A076-EB2B70B84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5F56595-A98B-4D85-981E-7494F03B1CAC}"/>
              </a:ext>
            </a:extLst>
          </p:cNvPr>
          <p:cNvSpPr txBox="1"/>
          <p:nvPr/>
        </p:nvSpPr>
        <p:spPr>
          <a:xfrm>
            <a:off x="669925" y="3059668"/>
            <a:ext cx="108505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3600" dirty="0"/>
              <a:t>nvcc -arch=sm_7</a:t>
            </a:r>
            <a:r>
              <a:rPr lang="en-US" altLang="zh-CN" sz="3600" dirty="0"/>
              <a:t>5</a:t>
            </a:r>
            <a:r>
              <a:rPr lang="zh-CN" altLang="en-US" sz="3600" dirty="0"/>
              <a:t> -o hello-gpu hello-gpu.cu -run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803A78E-51A1-43B2-BA27-D1C20231B62B}"/>
              </a:ext>
            </a:extLst>
          </p:cNvPr>
          <p:cNvSpPr txBox="1"/>
          <p:nvPr/>
        </p:nvSpPr>
        <p:spPr>
          <a:xfrm>
            <a:off x="571500" y="4942304"/>
            <a:ext cx="60948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2"/>
              </a:rPr>
              <a:t>https://docs.nvidia.com/cuda/cuda-compiler-driver-nvcc/index.html#options-for-steering-gpu-code-generation</a:t>
            </a:r>
            <a:endParaRPr lang="en-US" altLang="zh-CN" dirty="0"/>
          </a:p>
          <a:p>
            <a:r>
              <a:rPr lang="en-US" altLang="zh-CN" dirty="0"/>
              <a:t>https://docs.nvidia.com/cuda/cuda-compiler-driver-nvcc/index.html#gpu-feature-lis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9563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9D4593-315F-4150-8010-28F9C3BE3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线程、块和网格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900A7F0-2091-46DD-B130-90E3F8970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356EC78-186A-4D23-9C45-350221F68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D1B6447-B210-4035-B6AE-F1B6699323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541" t="13904" r="19101" b="15529"/>
          <a:stretch/>
        </p:blipFill>
        <p:spPr>
          <a:xfrm>
            <a:off x="3763485" y="1892103"/>
            <a:ext cx="4663440" cy="258142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B97E310-CC6C-4AA5-8470-7A160D592D57}"/>
              </a:ext>
            </a:extLst>
          </p:cNvPr>
          <p:cNvSpPr txBox="1"/>
          <p:nvPr/>
        </p:nvSpPr>
        <p:spPr>
          <a:xfrm>
            <a:off x="4334558" y="4797082"/>
            <a:ext cx="391614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err="1"/>
              <a:t>gridDim.x</a:t>
            </a:r>
            <a:r>
              <a:rPr lang="zh-CN" altLang="en-US" dirty="0"/>
              <a:t>表示网格的块数</a:t>
            </a:r>
            <a:endParaRPr lang="en-US" altLang="zh-CN" dirty="0"/>
          </a:p>
          <a:p>
            <a:r>
              <a:rPr lang="en-US" altLang="zh-CN" dirty="0" err="1"/>
              <a:t>blockIdx.x</a:t>
            </a:r>
            <a:r>
              <a:rPr lang="zh-CN" altLang="en-US" dirty="0"/>
              <a:t>表示当前块的索引</a:t>
            </a:r>
            <a:endParaRPr lang="en-US" altLang="zh-CN" dirty="0"/>
          </a:p>
          <a:p>
            <a:r>
              <a:rPr lang="en-US" altLang="zh-CN" dirty="0" err="1"/>
              <a:t>blockDim.x</a:t>
            </a:r>
            <a:r>
              <a:rPr lang="zh-CN" altLang="en-US" dirty="0"/>
              <a:t>表示块的线程数</a:t>
            </a:r>
            <a:endParaRPr lang="en-US" altLang="zh-CN" dirty="0"/>
          </a:p>
          <a:p>
            <a:r>
              <a:rPr lang="en-US" altLang="zh-CN" dirty="0" err="1"/>
              <a:t>threadIdx.x</a:t>
            </a:r>
            <a:r>
              <a:rPr lang="zh-CN" altLang="en-US" dirty="0"/>
              <a:t>当前块中线程的索引</a:t>
            </a:r>
          </a:p>
        </p:txBody>
      </p:sp>
    </p:spTree>
    <p:extLst>
      <p:ext uri="{BB962C8B-B14F-4D97-AF65-F5344CB8AC3E}">
        <p14:creationId xmlns:p14="http://schemas.microsoft.com/office/powerpoint/2010/main" val="25749355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5C1E26-99C0-476A-AC46-515B07AFC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索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E740C11-7F64-4C35-899E-EB55FA542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776B59-7BBD-431F-BDC5-9CE484C6C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EC843F7E-CE85-447D-85D6-666ADA8D0684}"/>
              </a:ext>
            </a:extLst>
          </p:cNvPr>
          <p:cNvGrpSpPr/>
          <p:nvPr/>
        </p:nvGrpSpPr>
        <p:grpSpPr>
          <a:xfrm>
            <a:off x="4180530" y="1234119"/>
            <a:ext cx="4893131" cy="4800924"/>
            <a:chOff x="3533417" y="429065"/>
            <a:chExt cx="6482780" cy="5643491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E1EE151C-2E3A-4E72-ADF9-EC98E5C9E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33417" y="785443"/>
              <a:ext cx="5125165" cy="5287113"/>
            </a:xfrm>
            <a:prstGeom prst="rect">
              <a:avLst/>
            </a:prstGeom>
          </p:spPr>
        </p:pic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232D9B89-31D9-4573-90CC-4200381FCE68}"/>
                </a:ext>
              </a:extLst>
            </p:cNvPr>
            <p:cNvSpPr/>
            <p:nvPr/>
          </p:nvSpPr>
          <p:spPr>
            <a:xfrm>
              <a:off x="7505114" y="429065"/>
              <a:ext cx="2511083" cy="16037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87951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3C1A41-B730-44CB-9955-B378204E8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索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A3C3433-88C5-4EF5-8D8A-E577296A7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27621D-FE19-489E-937A-751F9F7D5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F8AAEB7-BF9A-4779-AE0F-50DFE0A35CE4}"/>
              </a:ext>
            </a:extLst>
          </p:cNvPr>
          <p:cNvSpPr txBox="1"/>
          <p:nvPr/>
        </p:nvSpPr>
        <p:spPr>
          <a:xfrm>
            <a:off x="669925" y="1997839"/>
            <a:ext cx="1085056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&lt;&lt;&lt; NUMBER_OF_BLOCKS, NUMBER_OF_THREADS_PER_BLOCK&gt;&gt;&gt;</a:t>
            </a:r>
          </a:p>
          <a:p>
            <a:endParaRPr lang="zh-CN" altLang="en-US" dirty="0"/>
          </a:p>
          <a:p>
            <a:r>
              <a:rPr lang="zh-CN" altLang="en-US" dirty="0"/>
              <a:t>启动核函数时，核函数代码由每个已配置的线程块中的每个线程执行。</a:t>
            </a:r>
          </a:p>
          <a:p>
            <a:endParaRPr lang="zh-CN" altLang="en-US" dirty="0"/>
          </a:p>
          <a:p>
            <a:r>
              <a:rPr lang="zh-CN" altLang="en-US" dirty="0"/>
              <a:t>因此，如果假设已定义一个名为 someKernel 的核函数，则下列情况为真：</a:t>
            </a:r>
          </a:p>
          <a:p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someKernel&lt;&lt;&lt;1, 1&gt;&gt;() 配置为在具有单线程的单个线程块中运行后，将只运行一次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someKernel&lt;&lt;&lt;1, 10&gt;&gt;() 配置为在具有 10 线程的单个线程块中运行后，将运行 10 次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someKernel&lt;&lt;&lt;10, 1&gt;&gt;() 配置为在 10 个线程块（每个均具有单线程）中运行后，将运行 10 次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someKernel&lt;&lt;&lt;10, 10&gt;&gt;() 配置为在 10 个线程块（每个均具有 10 线程）中运行后，将运行 100 次。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D8979A7-FE57-4B7D-8992-7EBFCBB4B5D1}"/>
              </a:ext>
            </a:extLst>
          </p:cNvPr>
          <p:cNvSpPr txBox="1"/>
          <p:nvPr/>
        </p:nvSpPr>
        <p:spPr>
          <a:xfrm>
            <a:off x="4372981" y="5277115"/>
            <a:ext cx="34444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线程块包含的线程最多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1024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个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882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C4A031-B58B-4302-8CAB-0AD738BBC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显存分配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A7E51DC-DAA4-48EE-8DC2-67D124C4F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AFF072C-BC0C-468E-BB86-F7F594954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B2396B1-7CEF-4163-98D3-96676ECA5A20}"/>
              </a:ext>
            </a:extLst>
          </p:cNvPr>
          <p:cNvSpPr txBox="1"/>
          <p:nvPr/>
        </p:nvSpPr>
        <p:spPr>
          <a:xfrm>
            <a:off x="1014632" y="5300395"/>
            <a:ext cx="60948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docs.nvidia.com/cuda/cuda-c-best-practices-guide/index.html#memory-optimizations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C43C0D1-FD8A-43FA-8EF3-84BDC2965129}"/>
              </a:ext>
            </a:extLst>
          </p:cNvPr>
          <p:cNvSpPr txBox="1"/>
          <p:nvPr/>
        </p:nvSpPr>
        <p:spPr>
          <a:xfrm>
            <a:off x="4020220" y="1460207"/>
            <a:ext cx="414997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en-US" altLang="zh-CN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cpu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altLang="zh-CN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ize_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* </a:t>
            </a:r>
            <a:r>
              <a:rPr lang="en-US" altLang="zh-CN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*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(</a:t>
            </a:r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*)</a:t>
            </a:r>
            <a:r>
              <a:rPr lang="en-US" altLang="zh-CN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malloc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fre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 </a:t>
            </a:r>
            <a:r>
              <a:rPr lang="en-US" altLang="zh-CN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pu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&lt;</a:t>
            </a:r>
            <a:r>
              <a:rPr lang="en-US" altLang="zh-CN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ize_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* </a:t>
            </a:r>
            <a:r>
              <a:rPr lang="en-US" altLang="zh-CN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izeof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*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udaMallocManage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size);</a:t>
            </a:r>
          </a:p>
          <a:p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udaFre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31622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936D9B5-B27F-4F7A-A97B-DD760E376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网格大小匹配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7E82508-1094-4E93-A6EC-D75E6EAAAE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5483A36-FEFA-4AF5-B68D-EE16A57EC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E37E571A-7FD8-4068-BDD8-BD192B9C2DB9}"/>
              </a:ext>
            </a:extLst>
          </p:cNvPr>
          <p:cNvGrpSpPr/>
          <p:nvPr/>
        </p:nvGrpSpPr>
        <p:grpSpPr>
          <a:xfrm>
            <a:off x="3934800" y="1156678"/>
            <a:ext cx="4675799" cy="4790049"/>
            <a:chOff x="3638207" y="548640"/>
            <a:chExt cx="5569098" cy="5523916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89EE1AD7-7972-4DE8-9D0B-487042F03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8207" y="785443"/>
              <a:ext cx="4915586" cy="5287113"/>
            </a:xfrm>
            <a:prstGeom prst="rect">
              <a:avLst/>
            </a:prstGeom>
          </p:spPr>
        </p:pic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1DB855D4-3FCC-4179-AA8F-9F47011C274F}"/>
                </a:ext>
              </a:extLst>
            </p:cNvPr>
            <p:cNvSpPr/>
            <p:nvPr/>
          </p:nvSpPr>
          <p:spPr>
            <a:xfrm>
              <a:off x="7512148" y="548640"/>
              <a:ext cx="1695157" cy="15755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943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625A7F-D932-4CAB-A297-DF5705107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网格大小匹配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8C43F4-9227-4E1C-B049-EE2774A1A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01B872-EAF2-4F91-B19B-037AE632A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E4716DF-FA97-43C9-B7C9-E0B964157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6729" y="1351513"/>
            <a:ext cx="4218542" cy="4704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435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4DAF10-53CF-4ADE-9988-C9180F94C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错误处理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2D8715-DE28-4E9B-8768-0BCFE4CB8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2C44A-CB35-4A14-885B-D472A9CB1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5300439-9E4B-472A-B32F-77814B4DF64E}"/>
              </a:ext>
            </a:extLst>
          </p:cNvPr>
          <p:cNvSpPr txBox="1"/>
          <p:nvPr/>
        </p:nvSpPr>
        <p:spPr>
          <a:xfrm>
            <a:off x="3082645" y="1213187"/>
            <a:ext cx="707434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udaError_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r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r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udaMallocManage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altLang="zh-CN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(err != 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udaSuccess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</a:t>
            </a:r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rror: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%s</a:t>
            </a:r>
            <a:r>
              <a:rPr lang="en-US" altLang="zh-CN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altLang="zh-CN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GetErrorString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err));</a:t>
            </a:r>
          </a:p>
          <a:p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226BDCA-8412-4DB1-9C8D-80669FBF31E2}"/>
              </a:ext>
            </a:extLst>
          </p:cNvPr>
          <p:cNvSpPr txBox="1"/>
          <p:nvPr/>
        </p:nvSpPr>
        <p:spPr>
          <a:xfrm>
            <a:off x="3082645" y="3726825"/>
            <a:ext cx="698289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omeKernel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&lt;&lt;</a:t>
            </a:r>
            <a:r>
              <a:rPr lang="en-US" altLang="zh-CN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-</a:t>
            </a:r>
            <a:r>
              <a:rPr lang="en-US" altLang="zh-CN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gt;&gt;&gt;();</a:t>
            </a:r>
            <a:r>
              <a:rPr lang="en-US" altLang="zh-CN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 </a:t>
            </a:r>
            <a:b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udaError_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r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r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GetLastErro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);</a:t>
            </a:r>
            <a:r>
              <a:rPr lang="en-US" altLang="zh-CN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</a:t>
            </a:r>
          </a:p>
          <a:p>
            <a:r>
              <a:rPr lang="en-US" altLang="zh-CN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(err != 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cudaSuccess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</a:t>
            </a:r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Error: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%s</a:t>
            </a:r>
            <a:r>
              <a:rPr lang="en-US" altLang="zh-CN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\n</a:t>
            </a:r>
            <a:r>
              <a:rPr lang="en-US" altLang="zh-CN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GetErrorString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err));</a:t>
            </a:r>
          </a:p>
          <a:p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4045894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en-US" altLang="zh-CN" dirty="0"/>
              <a:t> </a:t>
            </a:r>
            <a:r>
              <a:rPr lang="zh-CN" altLang="en-US" dirty="0"/>
              <a:t>性能分析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1121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en-US" altLang="zh-CN" dirty="0"/>
              <a:t> </a:t>
            </a:r>
            <a:r>
              <a:rPr lang="zh-CN" altLang="en-US" dirty="0"/>
              <a:t>安装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4DAF10-53CF-4ADE-9988-C9180F94C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能分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2D8715-DE28-4E9B-8768-0BCFE4CB8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2C44A-CB35-4A14-885B-D472A9CB1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295AC63-8B98-43C1-8DC1-8CDB32BD0F83}"/>
              </a:ext>
            </a:extLst>
          </p:cNvPr>
          <p:cNvSpPr txBox="1"/>
          <p:nvPr/>
        </p:nvSpPr>
        <p:spPr>
          <a:xfrm>
            <a:off x="533989" y="5594132"/>
            <a:ext cx="60948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developer.nvidia.com/gameworksdownload#?dn=nsight-systems-2021-3-1-54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6430951-12F1-4954-B115-74569B488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5394" y="1051957"/>
            <a:ext cx="7279622" cy="451891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7FC476F1-3AC7-47AC-BF2A-B8230495151D}"/>
              </a:ext>
            </a:extLst>
          </p:cNvPr>
          <p:cNvSpPr txBox="1"/>
          <p:nvPr/>
        </p:nvSpPr>
        <p:spPr>
          <a:xfrm>
            <a:off x="4876214" y="1287125"/>
            <a:ext cx="27766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NVIDIA Nsight Systems</a:t>
            </a:r>
          </a:p>
        </p:txBody>
      </p:sp>
    </p:spTree>
    <p:extLst>
      <p:ext uri="{BB962C8B-B14F-4D97-AF65-F5344CB8AC3E}">
        <p14:creationId xmlns:p14="http://schemas.microsoft.com/office/powerpoint/2010/main" val="16824569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4DAF10-53CF-4ADE-9988-C9180F94C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能分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2D8715-DE28-4E9B-8768-0BCFE4CB8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2C44A-CB35-4A14-885B-D472A9CB1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87B5165-2598-4863-97FA-99283CA39F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5104" y="1403323"/>
            <a:ext cx="4140201" cy="4218688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8C737754-F04B-4517-93BB-C37CF9A4D055}"/>
              </a:ext>
            </a:extLst>
          </p:cNvPr>
          <p:cNvSpPr/>
          <p:nvPr/>
        </p:nvSpPr>
        <p:spPr>
          <a:xfrm>
            <a:off x="4389120" y="3995225"/>
            <a:ext cx="1871003" cy="1290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94068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4DAF10-53CF-4ADE-9988-C9180F94C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能分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2D8715-DE28-4E9B-8768-0BCFE4CB8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2C44A-CB35-4A14-885B-D472A9CB1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43354BF-B0AD-4EA9-BCEB-D9DAC3415596}"/>
              </a:ext>
            </a:extLst>
          </p:cNvPr>
          <p:cNvSpPr txBox="1"/>
          <p:nvPr/>
        </p:nvSpPr>
        <p:spPr>
          <a:xfrm>
            <a:off x="2033159" y="3342194"/>
            <a:ext cx="81240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sys</a:t>
            </a:r>
            <a:r>
              <a:rPr lang="en-US" altLang="zh-CN" sz="32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profile </a:t>
            </a:r>
            <a:r>
              <a:rPr lang="en-US" altLang="zh-CN" sz="3200" b="0" dirty="0">
                <a:solidFill>
                  <a:srgbClr val="F44747"/>
                </a:solidFill>
                <a:effectLst/>
                <a:latin typeface="Consolas" panose="020B0609020204030204" pitchFamily="49" charset="0"/>
              </a:rPr>
              <a:t>--</a:t>
            </a:r>
            <a:r>
              <a:rPr lang="en-US" altLang="zh-CN" sz="32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tats</a:t>
            </a:r>
            <a:r>
              <a:rPr lang="en-US" altLang="zh-CN" sz="3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32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ue .</a:t>
            </a:r>
            <a:r>
              <a:rPr lang="en-US" altLang="zh-CN" sz="3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altLang="zh-CN" sz="32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9954330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4DAF10-53CF-4ADE-9988-C9180F94C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能分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2D8715-DE28-4E9B-8768-0BCFE4CB8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2C44A-CB35-4A14-885B-D472A9CB1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074BD5E8-4162-4193-B4EE-25D65CE45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004" y="1684827"/>
            <a:ext cx="10772483" cy="3488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7545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4DAF10-53CF-4ADE-9988-C9180F94C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流多处理器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2D8715-DE28-4E9B-8768-0BCFE4CB8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2C44A-CB35-4A14-885B-D472A9CB1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D160FC3-8D2F-4F69-9EBA-E4D5098243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6259" y="1290503"/>
            <a:ext cx="5357892" cy="468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7182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2E393C-F7C3-443F-BF2D-631906D63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流多处理器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1F42220-58FF-4245-82FC-F0ED585E6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1C92D7-C8C7-4946-BBA7-E681C2418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A66BB09-A0A0-4E77-A460-84FAC379526D}"/>
              </a:ext>
            </a:extLst>
          </p:cNvPr>
          <p:cNvSpPr txBox="1"/>
          <p:nvPr/>
        </p:nvSpPr>
        <p:spPr>
          <a:xfrm>
            <a:off x="2969539" y="3105834"/>
            <a:ext cx="62513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SM </a:t>
            </a:r>
            <a:r>
              <a:rPr lang="zh-CN" altLang="en-US" dirty="0"/>
              <a:t>会在一个名为</a:t>
            </a:r>
            <a:r>
              <a:rPr lang="en-US" altLang="zh-CN" dirty="0"/>
              <a:t>warp</a:t>
            </a:r>
            <a:r>
              <a:rPr lang="zh-CN" altLang="en-US" dirty="0"/>
              <a:t>的线程块内创建、管理、调度和执行包含</a:t>
            </a:r>
            <a:r>
              <a:rPr lang="zh-CN" altLang="en-US" dirty="0">
                <a:solidFill>
                  <a:srgbClr val="FF0000"/>
                </a:solidFill>
              </a:rPr>
              <a:t> </a:t>
            </a:r>
            <a:r>
              <a:rPr lang="en-US" altLang="zh-CN" dirty="0">
                <a:solidFill>
                  <a:srgbClr val="FF0000"/>
                </a:solidFill>
              </a:rPr>
              <a:t>32 </a:t>
            </a:r>
            <a:r>
              <a:rPr lang="zh-CN" altLang="en-US" dirty="0"/>
              <a:t>个线程的线程组。所以线程数选</a:t>
            </a:r>
            <a:r>
              <a:rPr lang="en-US" altLang="zh-CN" dirty="0"/>
              <a:t>32</a:t>
            </a:r>
            <a:r>
              <a:rPr lang="zh-CN" altLang="en-US" dirty="0"/>
              <a:t>的倍数最佳！！！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2F9AAD7-A37C-4DF7-BA6B-2BE7EA2C1889}"/>
              </a:ext>
            </a:extLst>
          </p:cNvPr>
          <p:cNvSpPr txBox="1"/>
          <p:nvPr/>
        </p:nvSpPr>
        <p:spPr>
          <a:xfrm>
            <a:off x="1155310" y="5289844"/>
            <a:ext cx="60948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docs.nvidia.com/cuda/cuda-c-programming-guide/index.html#hardware-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472716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2E393C-F7C3-443F-BF2D-631906D63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PU</a:t>
            </a:r>
            <a:r>
              <a:rPr lang="zh-CN" altLang="en-US" dirty="0"/>
              <a:t>信息获取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1F42220-58FF-4245-82FC-F0ED585E6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1C92D7-C8C7-4946-BBA7-E681C2418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06535FF-E020-4CCD-A3E4-7A31F722B812}"/>
              </a:ext>
            </a:extLst>
          </p:cNvPr>
          <p:cNvSpPr txBox="1"/>
          <p:nvPr/>
        </p:nvSpPr>
        <p:spPr>
          <a:xfrm>
            <a:off x="2776298" y="2136338"/>
            <a:ext cx="663781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GetDevic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                  </a:t>
            </a:r>
          </a:p>
          <a:p>
            <a:b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cudaDeviceProp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GetDeviceProperties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mputeCapabilityMajo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jo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mputeCapabilityMino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inor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ultiProcessorCou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ultiProcessorCou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wrap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warp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8656286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en-US" altLang="zh-CN" dirty="0"/>
              <a:t> </a:t>
            </a:r>
            <a:r>
              <a:rPr lang="zh-CN" altLang="en-US" dirty="0"/>
              <a:t>显存管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34899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093BE1-3922-4AEE-AF53-CBCE3728D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统一内存（</a:t>
            </a:r>
            <a:r>
              <a:rPr lang="en-US" altLang="zh-CN" dirty="0"/>
              <a:t>UM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A4EEC79-AF68-4F57-AED4-3715C1DD0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CAA71D4-5FDE-4A09-A2D9-045EBCBB5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50720C7-7126-440E-938D-1493CECB2F87}"/>
              </a:ext>
            </a:extLst>
          </p:cNvPr>
          <p:cNvSpPr txBox="1"/>
          <p:nvPr/>
        </p:nvSpPr>
        <p:spPr>
          <a:xfrm>
            <a:off x="3047414" y="2686819"/>
            <a:ext cx="609482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分配 </a:t>
            </a:r>
            <a:r>
              <a:rPr lang="en-US" altLang="zh-CN" dirty="0"/>
              <a:t>UM </a:t>
            </a:r>
            <a:r>
              <a:rPr lang="zh-CN" altLang="en-US" dirty="0"/>
              <a:t>时，内存尚未驻留在主机或设备上。主机或设备尝试访问内存时会发生 </a:t>
            </a:r>
            <a:r>
              <a:rPr lang="zh-CN" altLang="en-US" dirty="0">
                <a:solidFill>
                  <a:srgbClr val="FF0000"/>
                </a:solidFill>
              </a:rPr>
              <a:t>页错误</a:t>
            </a:r>
            <a:r>
              <a:rPr lang="zh-CN" altLang="en-US" dirty="0"/>
              <a:t>，此时主机或设备会批量迁移所需的数据。同理，当 </a:t>
            </a:r>
            <a:r>
              <a:rPr lang="en-US" altLang="zh-CN" dirty="0"/>
              <a:t>CPU </a:t>
            </a:r>
            <a:r>
              <a:rPr lang="zh-CN" altLang="en-US" dirty="0"/>
              <a:t>或加速系统中的任何 </a:t>
            </a:r>
            <a:r>
              <a:rPr lang="en-US" altLang="zh-CN" dirty="0"/>
              <a:t>GPU </a:t>
            </a:r>
            <a:r>
              <a:rPr lang="zh-CN" altLang="en-US" dirty="0"/>
              <a:t>尝试访问尚未驻留在其上的内存时，会发生页错误并触发迁移。</a:t>
            </a:r>
          </a:p>
        </p:txBody>
      </p:sp>
    </p:spTree>
    <p:extLst>
      <p:ext uri="{BB962C8B-B14F-4D97-AF65-F5344CB8AC3E}">
        <p14:creationId xmlns:p14="http://schemas.microsoft.com/office/powerpoint/2010/main" val="23910561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C6EE50-0C95-4AEA-AF7E-E14442C39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异步预取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25F420D-9D06-4902-9467-BD0AD5B67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9C6532C-1FAF-42E6-A89E-28C63292B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CF6280DD-EA3F-4080-8A51-1E1B4FAB3202}"/>
              </a:ext>
            </a:extLst>
          </p:cNvPr>
          <p:cNvSpPr txBox="1"/>
          <p:nvPr/>
        </p:nvSpPr>
        <p:spPr>
          <a:xfrm>
            <a:off x="618978" y="2083000"/>
            <a:ext cx="108505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CUDA 可通过 cudaMemPrefetchAsync 函数，轻松将托管内存异步预取到 GPU 设备或 CPU。以下所示为如何使用该函数将数据预取到当前处于活动状态的 GPU 设备，然后再预取到 CPU：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7F49E5B-D4E0-422A-919B-BD06D137BAF7}"/>
              </a:ext>
            </a:extLst>
          </p:cNvPr>
          <p:cNvSpPr txBox="1"/>
          <p:nvPr/>
        </p:nvSpPr>
        <p:spPr>
          <a:xfrm>
            <a:off x="618978" y="3191822"/>
            <a:ext cx="1090150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GetDevic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                                        </a:t>
            </a:r>
          </a:p>
          <a:p>
            <a:b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MemPrefetchAsync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ointerToSomeUMDat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        </a:t>
            </a:r>
          </a:p>
          <a:p>
            <a:r>
              <a:rPr lang="en-US" altLang="zh-CN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cudaMemPrefetchAsync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ointerToSomeUMData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ize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udaCpuDeviceId</a:t>
            </a:r>
            <a:r>
              <a:rPr lang="en-US" altLang="zh-CN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; </a:t>
            </a:r>
          </a:p>
        </p:txBody>
      </p:sp>
    </p:spTree>
    <p:extLst>
      <p:ext uri="{BB962C8B-B14F-4D97-AF65-F5344CB8AC3E}">
        <p14:creationId xmlns:p14="http://schemas.microsoft.com/office/powerpoint/2010/main" val="3525263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E5942F-B8EE-45AC-BE2B-CCF37A6FC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zh-CN" altLang="en-US" dirty="0"/>
              <a:t>安装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71BD78A-AF23-48F0-AFC4-E6120A457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3E58EB-3C12-4A24-BB68-17ABDEF98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398942C-D82A-48AA-B69C-8AA9879D5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922" y="1130300"/>
            <a:ext cx="10386157" cy="4756231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599559A9-6EB0-4E05-A370-E86D112A8833}"/>
              </a:ext>
            </a:extLst>
          </p:cNvPr>
          <p:cNvSpPr txBox="1"/>
          <p:nvPr/>
        </p:nvSpPr>
        <p:spPr>
          <a:xfrm>
            <a:off x="902921" y="5793490"/>
            <a:ext cx="6094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developer.nvidia.com/cuda-downloads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CD490AAC-2029-4A24-975A-FC4CF0CE451E}"/>
              </a:ext>
            </a:extLst>
          </p:cNvPr>
          <p:cNvSpPr txBox="1"/>
          <p:nvPr/>
        </p:nvSpPr>
        <p:spPr>
          <a:xfrm>
            <a:off x="5289452" y="2570453"/>
            <a:ext cx="2634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需要电脑配置</a:t>
            </a:r>
            <a:r>
              <a:rPr lang="en-US" altLang="zh-CN" dirty="0" err="1">
                <a:solidFill>
                  <a:srgbClr val="FF0000"/>
                </a:solidFill>
              </a:rPr>
              <a:t>nvidia</a:t>
            </a:r>
            <a:r>
              <a:rPr lang="zh-CN" altLang="en-US" dirty="0">
                <a:solidFill>
                  <a:srgbClr val="FF0000"/>
                </a:solidFill>
              </a:rPr>
              <a:t>显卡</a:t>
            </a:r>
          </a:p>
        </p:txBody>
      </p:sp>
    </p:spTree>
    <p:extLst>
      <p:ext uri="{BB962C8B-B14F-4D97-AF65-F5344CB8AC3E}">
        <p14:creationId xmlns:p14="http://schemas.microsoft.com/office/powerpoint/2010/main" val="31764691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FC6EE50-0C95-4AEA-AF7E-E14442C39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异步预取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25F420D-9D06-4902-9467-BD0AD5B67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9C6532C-1FAF-42E6-A89E-28C63292B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6B62A073-24B0-4633-8911-8EB0BC9AE1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81296"/>
            <a:ext cx="4723521" cy="5087387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1E914B6-888C-4486-9C96-834BDD7F95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729" y="1081296"/>
            <a:ext cx="4419473" cy="5087387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D13C65BC-2157-4873-AA3B-EAC2AE0B4A63}"/>
              </a:ext>
            </a:extLst>
          </p:cNvPr>
          <p:cNvSpPr/>
          <p:nvPr/>
        </p:nvSpPr>
        <p:spPr>
          <a:xfrm>
            <a:off x="7125286" y="1610749"/>
            <a:ext cx="3903785" cy="13364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DE4C3A7F-D052-43EC-99C3-47F3411271F8}"/>
              </a:ext>
            </a:extLst>
          </p:cNvPr>
          <p:cNvSpPr/>
          <p:nvPr/>
        </p:nvSpPr>
        <p:spPr>
          <a:xfrm>
            <a:off x="457200" y="3559126"/>
            <a:ext cx="5008098" cy="4431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CF7E5D72-7B90-4778-953F-347D105F4892}"/>
              </a:ext>
            </a:extLst>
          </p:cNvPr>
          <p:cNvSpPr/>
          <p:nvPr/>
        </p:nvSpPr>
        <p:spPr>
          <a:xfrm>
            <a:off x="6798557" y="3559126"/>
            <a:ext cx="5008098" cy="4431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79630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0FAC67-42FD-439B-8DC7-6013B2AA8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手动分配内存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0D723B9-AE09-4492-8560-D42DFCCF7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960593-5F3E-46BD-8202-7C97EA2C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A070567-7635-43C2-9BF7-5B231A8234F5}"/>
              </a:ext>
            </a:extLst>
          </p:cNvPr>
          <p:cNvSpPr txBox="1"/>
          <p:nvPr/>
        </p:nvSpPr>
        <p:spPr>
          <a:xfrm>
            <a:off x="761364" y="2480419"/>
            <a:ext cx="1085056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以下是一些用于手动内存管理的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命令：</a:t>
            </a:r>
            <a:endParaRPr lang="en-US" altLang="zh-CN" b="0" dirty="0">
              <a:effectLst/>
              <a:latin typeface="Consolas" panose="020B0609020204030204" pitchFamily="49" charset="0"/>
            </a:endParaRPr>
          </a:p>
          <a:p>
            <a:endParaRPr lang="zh-CN" altLang="en-US" b="0" dirty="0">
              <a:effectLst/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alloc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命令将直接为处于活动状态的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GPU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分配内存。这可防止出现所有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GPU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分页错误，而代价是主机代码将无法访问该命令返回的指针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allocHost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命令将直接为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PU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分配内存。该命令可“固定”内存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pinned memory)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或“锁页”内存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page-locked memory)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，此举允许将内存异步拷贝至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GPU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或从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GPU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异步拷贝至内存。固定内存过多则会干扰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PU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性能，因此请勿无端使用该命令。释放固定内存时应使用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FreeHost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命令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effectLst/>
                <a:latin typeface="Consolas" panose="020B0609020204030204" pitchFamily="49" charset="0"/>
              </a:rPr>
              <a:t>无论是从主机到设备还是从设备到主机，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命令均可拷贝（而非传输）内存。</a:t>
            </a:r>
          </a:p>
        </p:txBody>
      </p:sp>
    </p:spTree>
    <p:extLst>
      <p:ext uri="{BB962C8B-B14F-4D97-AF65-F5344CB8AC3E}">
        <p14:creationId xmlns:p14="http://schemas.microsoft.com/office/powerpoint/2010/main" val="41694508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0FAC67-42FD-439B-8DC7-6013B2AA8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手动分配内存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0D723B9-AE09-4492-8560-D42DFCCF7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960593-5F3E-46BD-8202-7C97EA2C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ACB02DA-879F-47AF-B0BD-278A5224D287}"/>
              </a:ext>
            </a:extLst>
          </p:cNvPr>
          <p:cNvSpPr txBox="1"/>
          <p:nvPr/>
        </p:nvSpPr>
        <p:spPr>
          <a:xfrm>
            <a:off x="669925" y="1649422"/>
            <a:ext cx="1085056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>
                <a:effectLst/>
                <a:latin typeface="Consolas" panose="020B0609020204030204" pitchFamily="49" charset="0"/>
              </a:rPr>
              <a:t>int *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*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;        </a:t>
            </a:r>
          </a:p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Malloc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size);   </a:t>
            </a:r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effectLst/>
                <a:latin typeface="Consolas" panose="020B0609020204030204" pitchFamily="49" charset="0"/>
              </a:rPr>
              <a:t>initializeOnHos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N);   </a:t>
            </a:r>
          </a:p>
          <a:p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size,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HostToDevice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>
                <a:effectLst/>
                <a:latin typeface="Consolas" panose="020B0609020204030204" pitchFamily="49" charset="0"/>
              </a:rPr>
              <a:t>kernel&lt;&lt;&lt;blocks, threads, 0,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someStream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&gt;&gt;&gt;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N);</a:t>
            </a:r>
          </a:p>
          <a:p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size,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DeviceToHos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);</a:t>
            </a:r>
          </a:p>
          <a:p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effectLst/>
                <a:latin typeface="Consolas" panose="020B0609020204030204" pitchFamily="49" charset="0"/>
              </a:rPr>
              <a:t>verifyOnHos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N);</a:t>
            </a:r>
          </a:p>
          <a:p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effectLst/>
                <a:latin typeface="Consolas" panose="020B0609020204030204" pitchFamily="49" charset="0"/>
              </a:rPr>
              <a:t>cudaFree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FreeHos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); </a:t>
            </a:r>
            <a:r>
              <a:rPr lang="en-US" altLang="zh-CN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         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4683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en-US" altLang="zh-CN" dirty="0"/>
              <a:t> </a:t>
            </a:r>
            <a:r>
              <a:rPr lang="zh-CN" altLang="en-US" dirty="0"/>
              <a:t>流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35680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0FAC67-42FD-439B-8DC7-6013B2AA8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默认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0D723B9-AE09-4492-8560-D42DFCCF7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960593-5F3E-46BD-8202-7C97EA2C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2DA18D4-D203-4240-BF7D-0BD48521D137}"/>
              </a:ext>
            </a:extLst>
          </p:cNvPr>
          <p:cNvSpPr txBox="1"/>
          <p:nvPr/>
        </p:nvSpPr>
        <p:spPr>
          <a:xfrm>
            <a:off x="613946" y="1206127"/>
            <a:ext cx="109065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在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编程中，</a:t>
            </a:r>
            <a:r>
              <a:rPr lang="zh-CN" altLang="en-US" b="1" dirty="0">
                <a:effectLst/>
                <a:latin typeface="Consolas" panose="020B0609020204030204" pitchFamily="49" charset="0"/>
              </a:rPr>
              <a:t>流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是由按顺序执行的一系列命令构成。在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应用程序中，核函数的执行以及一些内存传输均在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流中进行。不过直至此时，您仍未直接与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流打交道；但实际上您的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代码已在名为</a:t>
            </a:r>
            <a:r>
              <a:rPr lang="zh-CN" altLang="en-US" i="1" dirty="0">
                <a:latin typeface="Consolas" panose="020B0609020204030204" pitchFamily="49" charset="0"/>
              </a:rPr>
              <a:t> </a:t>
            </a:r>
            <a:r>
              <a:rPr lang="zh-CN" altLang="en-US" b="0" i="1" dirty="0">
                <a:effectLst/>
                <a:latin typeface="Consolas" panose="020B0609020204030204" pitchFamily="49" charset="0"/>
              </a:rPr>
              <a:t>默认流 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的流中执行了其核函数。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F4B07B59-B673-4298-8ACB-36DF21341D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093" y="2583883"/>
            <a:ext cx="9126224" cy="301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2472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0FAC67-42FD-439B-8DC7-6013B2AA8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流行为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0D723B9-AE09-4492-8560-D42DFCCF7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0960593-5F3E-46BD-8202-7C97EA2C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989A8A6-873D-42BD-AB6E-92F0D13A6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1619" y="2877513"/>
            <a:ext cx="9107171" cy="3410426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2DA18D4-D203-4240-BF7D-0BD48521D137}"/>
              </a:ext>
            </a:extLst>
          </p:cNvPr>
          <p:cNvSpPr txBox="1"/>
          <p:nvPr/>
        </p:nvSpPr>
        <p:spPr>
          <a:xfrm>
            <a:off x="585519" y="1170662"/>
            <a:ext cx="1085056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为有效利用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流，您应了解有关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流行为的以下几项规则：</a:t>
            </a:r>
            <a:endParaRPr lang="en-US" altLang="zh-CN" b="0" dirty="0">
              <a:effectLst/>
              <a:latin typeface="Consolas" panose="020B0609020204030204" pitchFamily="49" charset="0"/>
            </a:endParaRPr>
          </a:p>
          <a:p>
            <a:endParaRPr lang="zh-CN" altLang="en-US" b="0" dirty="0">
              <a:effectLst/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effectLst/>
                <a:latin typeface="Consolas" panose="020B0609020204030204" pitchFamily="49" charset="0"/>
              </a:rPr>
              <a:t>给定流中的所有操作会按序执行。</a:t>
            </a:r>
            <a:endParaRPr lang="en-US" altLang="zh-CN" b="0" dirty="0">
              <a:effectLst/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effectLst/>
                <a:latin typeface="Consolas" panose="020B0609020204030204" pitchFamily="49" charset="0"/>
              </a:rPr>
              <a:t>就不同非默认流中的操作而言，无法保证其会按彼此之间的任何特定顺序执行。</a:t>
            </a:r>
            <a:endParaRPr lang="en-US" altLang="zh-CN" b="0" dirty="0">
              <a:effectLst/>
              <a:latin typeface="Consolas" panose="020B06090202040302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dirty="0">
                <a:effectLst/>
                <a:latin typeface="Consolas" panose="020B0609020204030204" pitchFamily="49" charset="0"/>
              </a:rPr>
              <a:t>默认流具有阻断能力，即，它会等待其它已在运行的所有流完成当前操作之后才运行，但在其自身运行完毕之前亦会阻碍其它流的运行。</a:t>
            </a:r>
          </a:p>
        </p:txBody>
      </p:sp>
    </p:spTree>
    <p:extLst>
      <p:ext uri="{BB962C8B-B14F-4D97-AF65-F5344CB8AC3E}">
        <p14:creationId xmlns:p14="http://schemas.microsoft.com/office/powerpoint/2010/main" val="1737312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65FDC57-8B7F-4826-ACE0-58F002004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B29611F-40EF-4288-A13F-481E04436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2B60B2-D5AE-4D32-9025-872F2C302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CB4F80B-E0C6-4262-A90D-A4D83B622548}"/>
              </a:ext>
            </a:extLst>
          </p:cNvPr>
          <p:cNvSpPr txBox="1"/>
          <p:nvPr/>
        </p:nvSpPr>
        <p:spPr>
          <a:xfrm>
            <a:off x="669923" y="2690336"/>
            <a:ext cx="1085056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Stream_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 stream;   </a:t>
            </a:r>
          </a:p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StreamCreate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&amp;stream); </a:t>
            </a:r>
          </a:p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someKernel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&lt;&lt;&lt;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number_of_blocks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threads_per_block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0, stream&gt;&gt;&gt;();   </a:t>
            </a:r>
            <a:endParaRPr lang="zh-CN" altLang="en-US" b="0" dirty="0">
              <a:effectLst/>
              <a:latin typeface="Consolas" panose="020B0609020204030204" pitchFamily="49" charset="0"/>
            </a:endParaRPr>
          </a:p>
          <a:p>
            <a:br>
              <a:rPr lang="zh-CN" altLang="en-US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 err="1">
                <a:effectLst/>
                <a:latin typeface="Consolas" panose="020B0609020204030204" pitchFamily="49" charset="0"/>
              </a:rPr>
              <a:t>cudaStreamDestroy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stream); 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D209C86-11B7-4EFB-9E76-C6663E419757}"/>
              </a:ext>
            </a:extLst>
          </p:cNvPr>
          <p:cNvSpPr txBox="1"/>
          <p:nvPr/>
        </p:nvSpPr>
        <p:spPr>
          <a:xfrm>
            <a:off x="2798455" y="4737688"/>
            <a:ext cx="6593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允许程序员提供</a:t>
            </a:r>
            <a:r>
              <a:rPr lang="zh-CN" altLang="en-US" b="1" dirty="0">
                <a:effectLst/>
                <a:latin typeface="Consolas" panose="020B0609020204030204" pitchFamily="49" charset="0"/>
              </a:rPr>
              <a:t>共享内存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中为每个内核启动动态分配的字节数。</a:t>
            </a:r>
          </a:p>
        </p:txBody>
      </p:sp>
    </p:spTree>
    <p:extLst>
      <p:ext uri="{BB962C8B-B14F-4D97-AF65-F5344CB8AC3E}">
        <p14:creationId xmlns:p14="http://schemas.microsoft.com/office/powerpoint/2010/main" val="22809173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65FDC57-8B7F-4826-ACE0-58F002004D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B29611F-40EF-4288-A13F-481E04436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2B60B2-D5AE-4D32-9025-872F2C302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D19EC42-F7CE-4226-A2F6-FA47DBE8E536}"/>
              </a:ext>
            </a:extLst>
          </p:cNvPr>
          <p:cNvSpPr txBox="1"/>
          <p:nvPr/>
        </p:nvSpPr>
        <p:spPr>
          <a:xfrm>
            <a:off x="2688161" y="1028700"/>
            <a:ext cx="6814088" cy="5755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const int N = 1 &lt;&lt; 20;</a:t>
            </a:r>
            <a:br>
              <a:rPr lang="en-US" altLang="zh-CN" sz="1600" b="0" dirty="0">
                <a:effectLst/>
                <a:latin typeface="Consolas" panose="020B0609020204030204" pitchFamily="49" charset="0"/>
              </a:rPr>
            </a:br>
            <a:r>
              <a:rPr lang="en-US" altLang="zh-CN" sz="1600" b="0" dirty="0">
                <a:effectLst/>
                <a:latin typeface="Consolas" panose="020B0609020204030204" pitchFamily="49" charset="0"/>
              </a:rPr>
              <a:t>__global__ void kernel(float *x, int n)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int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tid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threadIdx.x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+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blockIdx.x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*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blockDim.x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for (int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=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tid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;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&lt; n;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+=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blockDim.x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*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gridDim.x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    x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 = sqrt(pow(3.14159,i))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}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}</a:t>
            </a:r>
            <a:br>
              <a:rPr lang="en-US" altLang="zh-CN" sz="1600" b="0" dirty="0">
                <a:effectLst/>
                <a:latin typeface="Consolas" panose="020B0609020204030204" pitchFamily="49" charset="0"/>
              </a:rPr>
            </a:br>
            <a:r>
              <a:rPr lang="en-US" altLang="zh-CN" sz="1600" b="0" dirty="0">
                <a:effectLst/>
                <a:latin typeface="Consolas" panose="020B0609020204030204" pitchFamily="49" charset="0"/>
              </a:rPr>
              <a:t>int main()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const int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num_streams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= 8;</a:t>
            </a:r>
            <a:br>
              <a:rPr lang="en-US" altLang="zh-CN" sz="1600" b="0" dirty="0">
                <a:effectLst/>
                <a:latin typeface="Consolas" panose="020B0609020204030204" pitchFamily="49" charset="0"/>
              </a:rPr>
            </a:br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cudaStream_t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streams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num_streams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float *data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num_streams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;</a:t>
            </a:r>
          </a:p>
          <a:p>
            <a:br>
              <a:rPr lang="en-US" altLang="zh-CN" sz="1600" b="0" dirty="0">
                <a:effectLst/>
                <a:latin typeface="Consolas" panose="020B0609020204030204" pitchFamily="49" charset="0"/>
              </a:rPr>
            </a:br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for (int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= 0;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 &lt;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num_streams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;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++) {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   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cudaStreamCreate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(&amp;streams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)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   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cudaMalloc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(&amp;data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, N *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sizeof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(float))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    kernel&lt;&lt;&lt;1, 64, 0, streams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&gt;&gt;&gt;(data[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], N)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    kernel&lt;&lt;&lt;1, 1&gt;&gt;&gt;(0, 0)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}</a:t>
            </a:r>
            <a:br>
              <a:rPr lang="en-US" altLang="zh-CN" sz="1600" b="0" dirty="0">
                <a:effectLst/>
                <a:latin typeface="Consolas" panose="020B0609020204030204" pitchFamily="49" charset="0"/>
              </a:rPr>
            </a:br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</a:t>
            </a:r>
            <a:r>
              <a:rPr lang="en-US" altLang="zh-CN" sz="1600" b="0" dirty="0" err="1">
                <a:effectLst/>
                <a:latin typeface="Consolas" panose="020B0609020204030204" pitchFamily="49" charset="0"/>
              </a:rPr>
              <a:t>cudaDeviceReset</a:t>
            </a:r>
            <a:r>
              <a:rPr lang="en-US" altLang="zh-CN" sz="1600" b="0" dirty="0">
                <a:effectLst/>
                <a:latin typeface="Consolas" panose="020B0609020204030204" pitchFamily="49" charset="0"/>
              </a:rPr>
              <a:t>();</a:t>
            </a:r>
            <a:br>
              <a:rPr lang="en-US" altLang="zh-CN" sz="1600" b="0" dirty="0">
                <a:effectLst/>
                <a:latin typeface="Consolas" panose="020B0609020204030204" pitchFamily="49" charset="0"/>
              </a:rPr>
            </a:br>
            <a:r>
              <a:rPr lang="en-US" altLang="zh-CN" sz="1600" b="0" dirty="0">
                <a:effectLst/>
                <a:latin typeface="Consolas" panose="020B0609020204030204" pitchFamily="49" charset="0"/>
              </a:rPr>
              <a:t>    return 0;</a:t>
            </a:r>
          </a:p>
          <a:p>
            <a:r>
              <a:rPr lang="en-US" altLang="zh-CN" sz="1600" b="0" dirty="0"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9076795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通过流实现内存分配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0D49991-5B05-4E7F-9A9B-96C9082781E1}"/>
              </a:ext>
            </a:extLst>
          </p:cNvPr>
          <p:cNvSpPr txBox="1"/>
          <p:nvPr/>
        </p:nvSpPr>
        <p:spPr>
          <a:xfrm>
            <a:off x="669923" y="1391754"/>
            <a:ext cx="1085056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Async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可以从主机到设备或从设备到主机异步复制内存。</a:t>
            </a:r>
            <a:endParaRPr lang="en-US" altLang="zh-CN" b="0" dirty="0">
              <a:effectLst/>
              <a:latin typeface="Consolas" panose="020B0609020204030204" pitchFamily="49" charset="0"/>
            </a:endParaRP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与核函数的执行类似，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Async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在默认情况下仅相对于主机是异步的。默认情况下，它在默认流中执行，因此对于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GPU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上发生的其他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操作而言，它是阻塞操作。但是，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Async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函数将非默认流作为可选的第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5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个参数。通过向其传递非默认流，可以将内存传输与其他非默认流中发生的其他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操作并发</a:t>
            </a:r>
            <a:r>
              <a:rPr lang="zh-CN" altLang="en-US" dirty="0">
                <a:latin typeface="Consolas" panose="020B0609020204030204" pitchFamily="49" charset="0"/>
              </a:rPr>
              <a:t>。</a:t>
            </a:r>
            <a:endParaRPr lang="zh-CN" altLang="en-US" b="0" dirty="0">
              <a:effectLst/>
              <a:latin typeface="Consolas" panose="020B0609020204030204" pitchFamily="49" charset="0"/>
            </a:endParaRPr>
          </a:p>
          <a:p>
            <a:endParaRPr lang="zh-CN" altLang="en-US" b="0" dirty="0">
              <a:effectLst/>
              <a:latin typeface="Consolas" panose="020B0609020204030204" pitchFamily="49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AFC690C-EB42-440A-946F-8A624F748EB1}"/>
              </a:ext>
            </a:extLst>
          </p:cNvPr>
          <p:cNvSpPr txBox="1"/>
          <p:nvPr/>
        </p:nvSpPr>
        <p:spPr>
          <a:xfrm>
            <a:off x="2698710" y="4119766"/>
            <a:ext cx="679298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Stream_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 stream;</a:t>
            </a:r>
          </a:p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StreamCreate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&amp;stream);</a:t>
            </a:r>
          </a:p>
          <a:p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Async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device_array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segmentOffse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],  </a:t>
            </a:r>
          </a:p>
          <a:p>
            <a:r>
              <a:rPr lang="en-US" altLang="zh-CN" b="0" dirty="0">
                <a:effectLst/>
                <a:latin typeface="Consolas" panose="020B0609020204030204" pitchFamily="49" charset="0"/>
              </a:rPr>
              <a:t>                &amp;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host_array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segmentOffset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],    </a:t>
            </a:r>
          </a:p>
          <a:p>
            <a:r>
              <a:rPr lang="en-US" altLang="zh-CN" b="0" dirty="0">
                <a:effectLst/>
                <a:latin typeface="Consolas" panose="020B0609020204030204" pitchFamily="49" charset="0"/>
              </a:rPr>
              <a:t>               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segmentSize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                   </a:t>
            </a:r>
          </a:p>
          <a:p>
            <a:r>
              <a:rPr lang="en-US" altLang="zh-CN" b="0" dirty="0">
                <a:effectLst/>
                <a:latin typeface="Consolas" panose="020B0609020204030204" pitchFamily="49" charset="0"/>
              </a:rPr>
              <a:t>                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cudaMemcpyHostToDevice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en-US" altLang="zh-CN" b="0" dirty="0">
                <a:effectLst/>
                <a:latin typeface="Consolas" panose="020B0609020204030204" pitchFamily="49" charset="0"/>
              </a:rPr>
              <a:t>                stream);                       </a:t>
            </a:r>
          </a:p>
        </p:txBody>
      </p:sp>
    </p:spTree>
    <p:extLst>
      <p:ext uri="{BB962C8B-B14F-4D97-AF65-F5344CB8AC3E}">
        <p14:creationId xmlns:p14="http://schemas.microsoft.com/office/powerpoint/2010/main" val="6915758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en-US" altLang="zh-CN" dirty="0"/>
              <a:t> </a:t>
            </a:r>
            <a:r>
              <a:rPr lang="zh-CN" altLang="en-US" dirty="0"/>
              <a:t>共享内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6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1528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1195DBD-273F-4CF4-906A-C2FD0CE02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scode</a:t>
            </a:r>
            <a:r>
              <a:rPr lang="zh-CN" altLang="en-US" dirty="0"/>
              <a:t>插件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BD90D46-118C-41C9-B315-7BA434BA8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3F30993-8ACA-42CE-AE30-7A4E90CA7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D08F94B-176A-46F5-A43A-B548F50296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2070" y="1130300"/>
            <a:ext cx="9926269" cy="500697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18FAB99-FAC5-44C6-B79E-A65245E41C48}"/>
              </a:ext>
            </a:extLst>
          </p:cNvPr>
          <p:cNvSpPr txBox="1"/>
          <p:nvPr/>
        </p:nvSpPr>
        <p:spPr>
          <a:xfrm>
            <a:off x="3988190" y="6158987"/>
            <a:ext cx="3541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如果安装不了，需要更新</a:t>
            </a:r>
            <a:r>
              <a:rPr lang="en-US" altLang="zh-CN" dirty="0" err="1">
                <a:solidFill>
                  <a:srgbClr val="FF0000"/>
                </a:solidFill>
              </a:rPr>
              <a:t>vscode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822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共享内存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58D5137-EBD4-407C-BED1-1EFF95C4AF90}"/>
              </a:ext>
            </a:extLst>
          </p:cNvPr>
          <p:cNvSpPr txBox="1"/>
          <p:nvPr/>
        </p:nvSpPr>
        <p:spPr>
          <a:xfrm>
            <a:off x="592551" y="1177558"/>
            <a:ext cx="1085056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目前为止，我们一直都在区分主机和设备内存，而设备内存就像某种单独的内存类型。但实际上，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CUDA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拥有更为精细的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[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内存层次结构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](</a:t>
            </a:r>
            <a:r>
              <a:rPr lang="en-US" altLang="zh-CN" b="0" u="sng" dirty="0">
                <a:effectLst/>
                <a:latin typeface="Consolas" panose="020B0609020204030204" pitchFamily="49" charset="0"/>
              </a:rPr>
              <a:t>https://docs.nvidia.com/cuda/cuda-c-programming-guide/index.html#memory-hierarchy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)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。我们至今一直使用的设备内存称为</a:t>
            </a:r>
            <a:r>
              <a:rPr lang="zh-CN" altLang="en-US" b="1" dirty="0">
                <a:effectLst/>
                <a:latin typeface="Consolas" panose="020B0609020204030204" pitchFamily="49" charset="0"/>
              </a:rPr>
              <a:t>全局内存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。设备上的任何线程或块都可使用该内存，其存续时间可贯穿应用程序的整个生命周期，且内存空间相对较大。</a:t>
            </a:r>
            <a:endParaRPr lang="en-US" altLang="zh-CN" b="0" dirty="0">
              <a:effectLst/>
              <a:latin typeface="Consolas" panose="020B0609020204030204" pitchFamily="49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3D95988-F47A-4BBA-853F-C18CC1FC9B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2856" y="2386831"/>
            <a:ext cx="4740675" cy="3844687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D1EE9A7C-A8D2-42D7-ACAE-DE6E3309C4F5}"/>
              </a:ext>
            </a:extLst>
          </p:cNvPr>
          <p:cNvSpPr txBox="1"/>
          <p:nvPr/>
        </p:nvSpPr>
        <p:spPr>
          <a:xfrm>
            <a:off x="592551" y="6158987"/>
            <a:ext cx="6094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www.jianshu.com/p/8d17817a7488/</a:t>
            </a:r>
          </a:p>
        </p:txBody>
      </p:sp>
    </p:spTree>
    <p:extLst>
      <p:ext uri="{BB962C8B-B14F-4D97-AF65-F5344CB8AC3E}">
        <p14:creationId xmlns:p14="http://schemas.microsoft.com/office/powerpoint/2010/main" val="37796725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共享内存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58D5137-EBD4-407C-BED1-1EFF95C4AF90}"/>
              </a:ext>
            </a:extLst>
          </p:cNvPr>
          <p:cNvSpPr txBox="1"/>
          <p:nvPr/>
        </p:nvSpPr>
        <p:spPr>
          <a:xfrm>
            <a:off x="592551" y="1187847"/>
            <a:ext cx="1085056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共享内存是由程序员定义的缓存，容量有限。此类内存 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[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取决于所使用的 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GPU](https://docs.nvidia.com/cuda/cuda-c-programming-guide/index.html#compute-capabilities)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，且可为同一个线程块内</a:t>
            </a:r>
            <a:r>
              <a:rPr lang="zh-CN" altLang="en-US" b="1" dirty="0">
                <a:effectLst/>
                <a:latin typeface="Consolas" panose="020B0609020204030204" pitchFamily="49" charset="0"/>
              </a:rPr>
              <a:t>所有线程共享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。共享内存是一种稀缺资源。若线程位于分配有共享内存的线程块之外，则无法访问此共享内存，且此类内存在核函数执行完毕后即会被释放。然而，共享内存带宽远高于全局内存，可在许多核函数中发挥出色的使用效果，尤其是有助于优化性能。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6D18F5B-CE9A-4DBE-A420-92623CCB5CEE}"/>
              </a:ext>
            </a:extLst>
          </p:cNvPr>
          <p:cNvSpPr txBox="1"/>
          <p:nvPr/>
        </p:nvSpPr>
        <p:spPr>
          <a:xfrm>
            <a:off x="669924" y="5594132"/>
            <a:ext cx="60948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https://developer.nvidia.com/blog/efficient-matrix-transpose-cuda-cc/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AC44395-F2CD-4A30-B405-1D5EA34B883F}"/>
              </a:ext>
            </a:extLst>
          </p:cNvPr>
          <p:cNvSpPr txBox="1"/>
          <p:nvPr/>
        </p:nvSpPr>
        <p:spPr>
          <a:xfrm>
            <a:off x="3047792" y="3680658"/>
            <a:ext cx="609482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>
                <a:effectLst/>
                <a:latin typeface="Consolas" panose="020B0609020204030204" pitchFamily="49" charset="0"/>
              </a:rPr>
              <a:t>  __shared__ float tile[TILE_DIM][TILE_DIM];</a:t>
            </a:r>
          </a:p>
          <a:p>
            <a:br>
              <a:rPr lang="en-US" altLang="zh-CN" b="0" dirty="0">
                <a:effectLst/>
                <a:latin typeface="Consolas" panose="020B0609020204030204" pitchFamily="49" charset="0"/>
              </a:rPr>
            </a:br>
            <a:r>
              <a:rPr lang="en-US" altLang="zh-CN" b="0" dirty="0">
                <a:effectLst/>
                <a:latin typeface="Consolas" panose="020B0609020204030204" pitchFamily="49" charset="0"/>
              </a:rPr>
              <a:t>  __</a:t>
            </a:r>
            <a:r>
              <a:rPr lang="en-US" altLang="zh-CN" b="0" dirty="0" err="1">
                <a:effectLst/>
                <a:latin typeface="Consolas" panose="020B0609020204030204" pitchFamily="49" charset="0"/>
              </a:rPr>
              <a:t>syncthreads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33091868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程序计时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0B39BCA-CC41-45BF-9E21-8389936A2A26}"/>
              </a:ext>
            </a:extLst>
          </p:cNvPr>
          <p:cNvSpPr txBox="1"/>
          <p:nvPr/>
        </p:nvSpPr>
        <p:spPr>
          <a:xfrm>
            <a:off x="2385919" y="1678276"/>
            <a:ext cx="7418571" cy="3912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Event_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startEven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stopEven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EventCreat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startEven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);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EventCreat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&amp;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stopEven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);</a:t>
            </a:r>
          </a:p>
          <a:p>
            <a:pPr>
              <a:lnSpc>
                <a:spcPct val="150000"/>
              </a:lnSpc>
            </a:pPr>
            <a:r>
              <a:rPr lang="en-US" altLang="zh-CN" sz="2400" b="0" i="0" dirty="0" err="1">
                <a:effectLst/>
                <a:latin typeface="ui-monospace"/>
              </a:rPr>
              <a:t>cudaEventRecord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(</a:t>
            </a:r>
            <a:r>
              <a:rPr lang="en-US" altLang="zh-CN" sz="2400" b="0" i="0" dirty="0" err="1">
                <a:solidFill>
                  <a:srgbClr val="24292F"/>
                </a:solidFill>
                <a:effectLst/>
                <a:latin typeface="ui-monospace"/>
              </a:rPr>
              <a:t>startEvent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, </a:t>
            </a:r>
            <a:r>
              <a:rPr lang="en-US" altLang="zh-CN" sz="2400" b="0" i="0" dirty="0">
                <a:effectLst/>
                <a:latin typeface="ui-monospace"/>
              </a:rPr>
              <a:t>0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)</a:t>
            </a:r>
            <a:r>
              <a:rPr lang="en-US" altLang="zh-CN" sz="2400" i="0" dirty="0">
                <a:solidFill>
                  <a:srgbClr val="24292F"/>
                </a:solidFill>
                <a:latin typeface="Consolas" panose="020B0609020204030204" pitchFamily="49" charset="0"/>
              </a:rPr>
              <a:t>;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b="0" i="0" dirty="0" err="1">
                <a:effectLst/>
                <a:latin typeface="ui-monospace"/>
              </a:rPr>
              <a:t>cudaEventRecord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(</a:t>
            </a:r>
            <a:r>
              <a:rPr lang="en-US" altLang="zh-CN" sz="2400" b="0" i="0" dirty="0" err="1">
                <a:solidFill>
                  <a:srgbClr val="24292F"/>
                </a:solidFill>
                <a:effectLst/>
                <a:latin typeface="ui-monospace"/>
              </a:rPr>
              <a:t>stopEvent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, </a:t>
            </a:r>
            <a:r>
              <a:rPr lang="en-US" altLang="zh-CN" sz="2400" b="0" i="0" dirty="0">
                <a:effectLst/>
                <a:latin typeface="ui-monospace"/>
              </a:rPr>
              <a:t>0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)</a:t>
            </a:r>
            <a:r>
              <a:rPr lang="en-US" altLang="zh-CN" sz="2400" i="0" dirty="0">
                <a:solidFill>
                  <a:srgbClr val="24292F"/>
                </a:solidFill>
                <a:latin typeface="Consolas" panose="020B0609020204030204" pitchFamily="49" charset="0"/>
              </a:rPr>
              <a:t>;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b="0" i="0" dirty="0" err="1">
                <a:effectLst/>
                <a:latin typeface="ui-monospace"/>
              </a:rPr>
              <a:t>cudaEventSynchronize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(</a:t>
            </a:r>
            <a:r>
              <a:rPr lang="en-US" altLang="zh-CN" sz="2400" b="0" i="0" dirty="0" err="1">
                <a:solidFill>
                  <a:srgbClr val="24292F"/>
                </a:solidFill>
                <a:effectLst/>
                <a:latin typeface="ui-monospace"/>
              </a:rPr>
              <a:t>stopEvent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)</a:t>
            </a:r>
            <a:r>
              <a:rPr lang="en-US" altLang="zh-CN" sz="2400" i="0" dirty="0">
                <a:solidFill>
                  <a:srgbClr val="24292F"/>
                </a:solidFill>
                <a:latin typeface="Consolas" panose="020B0609020204030204" pitchFamily="49" charset="0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altLang="zh-CN" sz="2400" b="0" i="0" dirty="0" err="1">
                <a:effectLst/>
                <a:latin typeface="ui-monospace"/>
              </a:rPr>
              <a:t>cudaEventElapsedTime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(&amp;</a:t>
            </a:r>
            <a:r>
              <a:rPr lang="en-US" altLang="zh-CN" sz="2400" b="0" i="0" dirty="0" err="1">
                <a:solidFill>
                  <a:srgbClr val="24292F"/>
                </a:solidFill>
                <a:effectLst/>
                <a:latin typeface="ui-monospace"/>
              </a:rPr>
              <a:t>ms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, </a:t>
            </a:r>
            <a:r>
              <a:rPr lang="en-US" altLang="zh-CN" sz="2400" b="0" i="0" dirty="0" err="1">
                <a:solidFill>
                  <a:srgbClr val="24292F"/>
                </a:solidFill>
                <a:effectLst/>
                <a:latin typeface="ui-monospace"/>
              </a:rPr>
              <a:t>startEvent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, </a:t>
            </a:r>
            <a:r>
              <a:rPr lang="en-US" altLang="zh-CN" sz="2400" b="0" i="0" dirty="0" err="1">
                <a:solidFill>
                  <a:srgbClr val="24292F"/>
                </a:solidFill>
                <a:effectLst/>
                <a:latin typeface="ui-monospace"/>
              </a:rPr>
              <a:t>stopEvent</a:t>
            </a:r>
            <a:r>
              <a:rPr lang="en-US" altLang="zh-CN" sz="2400" b="0" i="0" dirty="0">
                <a:solidFill>
                  <a:srgbClr val="24292F"/>
                </a:solidFill>
                <a:effectLst/>
                <a:latin typeface="ui-monospace"/>
              </a:rPr>
              <a:t>)</a:t>
            </a:r>
            <a:r>
              <a:rPr lang="en-US" altLang="zh-CN" sz="2400" b="0" dirty="0">
                <a:solidFill>
                  <a:srgbClr val="24292F"/>
                </a:solidFill>
                <a:effectLst/>
                <a:latin typeface="Consolas" panose="020B0609020204030204" pitchFamily="49" charset="0"/>
              </a:rPr>
              <a:t>;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5335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存储块冲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3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E0E8F9E-AAF2-457A-A77B-B5E8D7FCE1CC}"/>
              </a:ext>
            </a:extLst>
          </p:cNvPr>
          <p:cNvSpPr txBox="1"/>
          <p:nvPr/>
        </p:nvSpPr>
        <p:spPr>
          <a:xfrm>
            <a:off x="669924" y="1386396"/>
            <a:ext cx="108505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dirty="0">
                <a:effectLst/>
                <a:latin typeface="Consolas" panose="020B0609020204030204" pitchFamily="49" charset="0"/>
              </a:rPr>
              <a:t>共享内存一共有 </a:t>
            </a:r>
            <a:r>
              <a:rPr lang="en-US" altLang="zh-CN" b="0" dirty="0">
                <a:effectLst/>
                <a:latin typeface="Consolas" panose="020B0609020204030204" pitchFamily="49" charset="0"/>
              </a:rPr>
              <a:t>32 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个存储块，且内存读写可以同时运行。当并行线程尝试访问同一存储块内的内存时，我们将这种情况称为</a:t>
            </a:r>
            <a:r>
              <a:rPr lang="zh-CN" altLang="en-US" b="1" dirty="0">
                <a:effectLst/>
                <a:latin typeface="Consolas" panose="020B0609020204030204" pitchFamily="49" charset="0"/>
              </a:rPr>
              <a:t>存储块冲突</a:t>
            </a:r>
            <a:r>
              <a:rPr lang="zh-CN" altLang="en-US" b="0" dirty="0">
                <a:effectLst/>
                <a:latin typeface="Consolas" panose="020B0609020204030204" pitchFamily="49" charset="0"/>
              </a:rPr>
              <a:t>，该冲突将导致操作的顺序化。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F6B2747-E7E5-474F-9645-32EDB03C4961}"/>
              </a:ext>
            </a:extLst>
          </p:cNvPr>
          <p:cNvSpPr txBox="1"/>
          <p:nvPr/>
        </p:nvSpPr>
        <p:spPr>
          <a:xfrm>
            <a:off x="669924" y="5934670"/>
            <a:ext cx="609482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2"/>
              </a:rPr>
              <a:t>https://blog.csdn.net/u011934885/article/details/54706812</a:t>
            </a:r>
            <a:endParaRPr lang="en-US" altLang="zh-CN" dirty="0"/>
          </a:p>
          <a:p>
            <a:r>
              <a:rPr lang="en-US" altLang="zh-CN" dirty="0"/>
              <a:t>https://docs.nvidia.com/cuda/cuda-c-programming-guide/index.html#compute-capabilities</a:t>
            </a:r>
            <a:endParaRPr lang="zh-CN" altLang="en-US" dirty="0"/>
          </a:p>
        </p:txBody>
      </p:sp>
      <p:pic>
        <p:nvPicPr>
          <p:cNvPr id="1026" name="Picture 2" descr="这里写图片描述">
            <a:extLst>
              <a:ext uri="{FF2B5EF4-FFF2-40B4-BE49-F238E27FC236}">
                <a16:creationId xmlns:a16="http://schemas.microsoft.com/office/drawing/2014/main" id="{57F53B14-90C3-429A-8E17-17986C526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8663" y="2180492"/>
            <a:ext cx="5414674" cy="3151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172097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Numba</a:t>
            </a:r>
            <a:r>
              <a:rPr lang="zh-CN" altLang="en-US" dirty="0"/>
              <a:t>实现并行算法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7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80641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Numba</a:t>
            </a:r>
            <a:r>
              <a:rPr lang="zh-CN" altLang="en-US" dirty="0"/>
              <a:t>的安装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5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E0E8F9E-AAF2-457A-A77B-B5E8D7FCE1CC}"/>
              </a:ext>
            </a:extLst>
          </p:cNvPr>
          <p:cNvSpPr txBox="1"/>
          <p:nvPr/>
        </p:nvSpPr>
        <p:spPr>
          <a:xfrm>
            <a:off x="3125402" y="2890391"/>
            <a:ext cx="593960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0" dirty="0" err="1">
                <a:effectLst/>
                <a:latin typeface="Consolas" panose="020B0609020204030204" pitchFamily="49" charset="0"/>
              </a:rPr>
              <a:t>conda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 install </a:t>
            </a:r>
            <a:r>
              <a:rPr lang="en-US" altLang="zh-CN" sz="3200" b="0" dirty="0" err="1">
                <a:effectLst/>
                <a:latin typeface="Consolas" panose="020B0609020204030204" pitchFamily="49" charset="0"/>
              </a:rPr>
              <a:t>numba</a:t>
            </a:r>
            <a:endParaRPr lang="en-US" altLang="zh-CN" sz="3200" b="0" dirty="0">
              <a:effectLst/>
              <a:latin typeface="Consolas" panose="020B0609020204030204" pitchFamily="49" charset="0"/>
            </a:endParaRPr>
          </a:p>
          <a:p>
            <a:r>
              <a:rPr lang="en-US" altLang="zh-CN" sz="3200" b="0" dirty="0" err="1">
                <a:effectLst/>
                <a:latin typeface="Consolas" panose="020B0609020204030204" pitchFamily="49" charset="0"/>
              </a:rPr>
              <a:t>conda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 install </a:t>
            </a:r>
            <a:r>
              <a:rPr lang="en-US" altLang="zh-CN" sz="3200" b="0" dirty="0" err="1">
                <a:effectLst/>
                <a:latin typeface="Consolas" panose="020B0609020204030204" pitchFamily="49" charset="0"/>
              </a:rPr>
              <a:t>jupyter</a:t>
            </a:r>
            <a:endParaRPr lang="en-US" altLang="zh-CN" sz="3200" b="0" dirty="0">
              <a:effectLst/>
              <a:latin typeface="Consolas" panose="020B0609020204030204" pitchFamily="49" charset="0"/>
            </a:endParaRPr>
          </a:p>
          <a:p>
            <a:r>
              <a:rPr lang="en-US" altLang="zh-CN" sz="3200" dirty="0" err="1">
                <a:latin typeface="Consolas" panose="020B0609020204030204" pitchFamily="49" charset="0"/>
              </a:rPr>
              <a:t>conda</a:t>
            </a:r>
            <a:r>
              <a:rPr lang="en-US" altLang="zh-CN" sz="3200" dirty="0">
                <a:latin typeface="Consolas" panose="020B0609020204030204" pitchFamily="49" charset="0"/>
              </a:rPr>
              <a:t> install </a:t>
            </a:r>
            <a:r>
              <a:rPr lang="en-US" altLang="zh-CN" sz="3200" dirty="0" err="1">
                <a:latin typeface="Consolas" panose="020B0609020204030204" pitchFamily="49" charset="0"/>
              </a:rPr>
              <a:t>cudatoolkit</a:t>
            </a:r>
            <a:endParaRPr lang="zh-CN" altLang="en-US" sz="32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8354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编写</a:t>
            </a:r>
            <a:r>
              <a:rPr lang="en-US" altLang="zh-CN" dirty="0"/>
              <a:t>kernel</a:t>
            </a:r>
            <a:r>
              <a:rPr lang="zh-CN" altLang="en-US" dirty="0"/>
              <a:t>函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E0E8F9E-AAF2-457A-A77B-B5E8D7FCE1CC}"/>
              </a:ext>
            </a:extLst>
          </p:cNvPr>
          <p:cNvSpPr txBox="1"/>
          <p:nvPr/>
        </p:nvSpPr>
        <p:spPr>
          <a:xfrm>
            <a:off x="4053060" y="2849751"/>
            <a:ext cx="408429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b="0" dirty="0">
                <a:effectLst/>
                <a:latin typeface="Consolas" panose="020B0609020204030204" pitchFamily="49" charset="0"/>
              </a:rPr>
              <a:t>from 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numba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 import 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  <a:p>
            <a:br>
              <a:rPr lang="en-US" altLang="zh-CN" sz="2400" b="0" dirty="0">
                <a:effectLst/>
                <a:latin typeface="Consolas" panose="020B0609020204030204" pitchFamily="49" charset="0"/>
              </a:rPr>
            </a:br>
            <a:r>
              <a:rPr lang="en-US" altLang="zh-CN" sz="2400" b="0" dirty="0">
                <a:effectLst/>
                <a:latin typeface="Consolas" panose="020B0609020204030204" pitchFamily="49" charset="0"/>
              </a:rPr>
              <a:t>@cuda.jit</a:t>
            </a:r>
          </a:p>
          <a:p>
            <a:r>
              <a:rPr lang="en-US" altLang="zh-CN" sz="2400" b="0" dirty="0">
                <a:effectLst/>
                <a:latin typeface="Consolas" panose="020B0609020204030204" pitchFamily="49" charset="0"/>
              </a:rPr>
              <a:t>def 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func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x, y):</a:t>
            </a:r>
          </a:p>
          <a:p>
            <a:r>
              <a:rPr lang="en-US" altLang="zh-CN" sz="2400" dirty="0">
                <a:latin typeface="Consolas" panose="020B0609020204030204" pitchFamily="49" charset="0"/>
              </a:rPr>
              <a:t>    pass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34044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7C533A-C7F4-4781-A624-E56BF621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常用操作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BBDEA8-269D-4CFD-A76C-FA8BDC82B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1D35B6-69F6-48A4-9ADF-94D4E3142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E0E8F9E-AAF2-457A-A77B-B5E8D7FCE1CC}"/>
              </a:ext>
            </a:extLst>
          </p:cNvPr>
          <p:cNvSpPr txBox="1"/>
          <p:nvPr/>
        </p:nvSpPr>
        <p:spPr>
          <a:xfrm>
            <a:off x="1343842" y="1402079"/>
            <a:ext cx="9502726" cy="44650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latin typeface="Consolas" panose="020B0609020204030204" pitchFamily="49" charset="0"/>
              </a:rPr>
              <a:t>a =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to_devic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a) #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Memcpy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 HTOD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synchroniz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a.copy_to_hos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) # DTOH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a_out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device_array_lik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a_in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blockIdx.x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 *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blockDim.x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 +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threadIdx.x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b="0" dirty="0">
                <a:effectLst/>
                <a:latin typeface="Consolas" panose="020B0609020204030204" pitchFamily="49" charset="0"/>
              </a:rPr>
              <a:t>tile =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shared.array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(32, 32), numba.types.int32)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cuda.syncthreads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func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[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grid_siz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block_size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](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d_a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d_b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2400" b="0" dirty="0" err="1">
                <a:effectLst/>
                <a:latin typeface="Consolas" panose="020B0609020204030204" pitchFamily="49" charset="0"/>
              </a:rPr>
              <a:t>d_c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369757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Thanks</a:t>
            </a:r>
            <a:endParaRPr lang="zh-CN" altLang="en-US" sz="4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爱学习的阿噜</a:t>
            </a:r>
            <a:endParaRPr lang="en-US" altLang="zh-CN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1195DBD-273F-4CF4-906A-C2FD0CE02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安装</a:t>
            </a:r>
            <a:r>
              <a:rPr lang="en-US" altLang="zh-CN" dirty="0"/>
              <a:t>v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BD90D46-118C-41C9-B315-7BA434BA8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3F30993-8ACA-42CE-AE30-7A4E90CA7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E814477-1010-494B-926C-44F93FCB41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4686" y="1196069"/>
            <a:ext cx="8542627" cy="4792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593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uda</a:t>
            </a:r>
            <a:r>
              <a:rPr lang="en-US" altLang="zh-CN" dirty="0"/>
              <a:t> </a:t>
            </a:r>
            <a:r>
              <a:rPr lang="en-US" altLang="zh-CN" dirty="0" err="1"/>
              <a:t>cpp</a:t>
            </a:r>
            <a:r>
              <a:rPr lang="zh-CN" altLang="en-US" dirty="0"/>
              <a:t>编程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31546" y="2251709"/>
            <a:ext cx="2708087" cy="235458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pattFill prst="pct90">
                  <a:fgClr>
                    <a:schemeClr val="accent1"/>
                  </a:fgClr>
                  <a:bgClr>
                    <a:schemeClr val="bg1"/>
                  </a:bgClr>
                </a:patt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pattFill prst="pct90">
                <a:fgClr>
                  <a:schemeClr val="accent1"/>
                </a:fgClr>
                <a:bgClr>
                  <a:schemeClr val="bg1"/>
                </a:bgClr>
              </a:patt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80747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E5942F-B8EE-45AC-BE2B-CCF37A6FC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gpu</a:t>
            </a:r>
            <a:r>
              <a:rPr lang="zh-CN" altLang="en-US" dirty="0"/>
              <a:t>执行步骤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71BD78A-AF23-48F0-AFC4-E6120A457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3E58EB-3C12-4A24-BB68-17ABDEF98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CDF6793-234F-4793-B6A4-76082E5D33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5667" y="1307600"/>
            <a:ext cx="9299076" cy="4653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256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llo </a:t>
            </a:r>
            <a:r>
              <a:rPr lang="en-US" altLang="zh-CN" dirty="0" err="1"/>
              <a:t>gpu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</a:t>
            </a:r>
            <a:r>
              <a:rPr lang="en-US" altLang="zh-CN" sz="100"/>
              <a:t> </a:t>
            </a:r>
            <a:r>
              <a:rPr lang="en-US" altLang="zh-CN"/>
              <a:t>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8CA537E-7F5C-4EEE-A3F6-94607FECF4AE}"/>
              </a:ext>
            </a:extLst>
          </p:cNvPr>
          <p:cNvSpPr txBox="1"/>
          <p:nvPr/>
        </p:nvSpPr>
        <p:spPr>
          <a:xfrm>
            <a:off x="669926" y="2274838"/>
            <a:ext cx="1085056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__global__ void </a:t>
            </a:r>
            <a:r>
              <a:rPr lang="en-US" altLang="zh-CN" dirty="0" err="1"/>
              <a:t>gpu</a:t>
            </a:r>
            <a:r>
              <a:rPr lang="zh-CN" altLang="en-US" dirty="0"/>
              <a:t>()</a:t>
            </a:r>
          </a:p>
          <a:p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__global__ 关键字表明以下函数将在 GPU 上运行并可全局调用，而在此种情况下，则指由 CPU 或 GPU 调用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通常，我们将在 CPU 上执行的代码称为主机代码，而将在 GPU 上运行的代码称为设备代码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注意返回类型为 void。使用 __global__ 关键字定义的函数需要返回 void 类型。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9744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B65CFC-CCC0-453E-BB49-4CDD52B54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llo </a:t>
            </a:r>
            <a:r>
              <a:rPr lang="en-US" altLang="zh-CN" dirty="0" err="1"/>
              <a:t>gpu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8FD600-10B8-4DB6-8826-EE47A4E02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9DFBF73-AB7D-41C2-A351-B4AEA2E0B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CFE56DF-552B-46E9-8DA8-A4E0D1B3E614}"/>
              </a:ext>
            </a:extLst>
          </p:cNvPr>
          <p:cNvSpPr txBox="1"/>
          <p:nvPr/>
        </p:nvSpPr>
        <p:spPr>
          <a:xfrm>
            <a:off x="669926" y="1997839"/>
            <a:ext cx="1085056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err="1"/>
              <a:t>gpu</a:t>
            </a:r>
            <a:r>
              <a:rPr lang="zh-CN" altLang="en-US" dirty="0"/>
              <a:t>&lt;&lt;&lt;1, 1&gt;&gt;&gt;();</a:t>
            </a:r>
            <a:endParaRPr lang="en-US" altLang="zh-CN" dirty="0"/>
          </a:p>
          <a:p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通常，当调用要在 GPU 上运行的函数时，我们将此种函数称为已启动的核函数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启动核函数时，我们必须提供执行配置，即在向核函数传递任何预期参数之前使用 &lt;&lt;&lt; ... &gt;&gt;&gt; 语法完成的配置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在宏观层面，程序员可通过执行配置为核函数启动指定线程层次结构，从而定义线程组（称为线程块）的数量，以及要在每个线程块中执行的线程数量。稍后将在本实验深入探讨执行配置，但现在请注意正在使用包含 1 线程（第二个配置参数）的 1 线程块（第一个执行配置参数）启动核函数。</a:t>
            </a:r>
          </a:p>
        </p:txBody>
      </p:sp>
    </p:spTree>
    <p:extLst>
      <p:ext uri="{BB962C8B-B14F-4D97-AF65-F5344CB8AC3E}">
        <p14:creationId xmlns:p14="http://schemas.microsoft.com/office/powerpoint/2010/main" val="3620551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60035"/>
  <p:tag name="ISLIDE.GUIDESSETTING" val="{&quot;Id&quot;:&quot;6caa9581-2681-4723-9bf1-b7ed91c1759b&quot;,&quot;Name&quot;:null,&quot;Kind&quot;:&quot;Custom&quot;,&quot;OldGuidesSetting&quot;:{&quot;HeaderHeight&quot;:0.0,&quot;FooterHeight&quot;:0.0,&quot;SideMargin&quot;:0.0,&quot;TopMargin&quot;:0.0,&quot;BottomMargin&quot;:0.0,&quot;IntervalMargin&quot;:0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254613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355B96"/>
      </a:accent1>
      <a:accent2>
        <a:srgbClr val="1EAE9F"/>
      </a:accent2>
      <a:accent3>
        <a:srgbClr val="1181BA"/>
      </a:accent3>
      <a:accent4>
        <a:srgbClr val="EFA900"/>
      </a:accent4>
      <a:accent5>
        <a:srgbClr val="7F888F"/>
      </a:accent5>
      <a:accent6>
        <a:srgbClr val="B2B2B2"/>
      </a:accent6>
      <a:hlink>
        <a:srgbClr val="355B96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55B96"/>
    </a:accent1>
    <a:accent2>
      <a:srgbClr val="1EAE9F"/>
    </a:accent2>
    <a:accent3>
      <a:srgbClr val="1181BA"/>
    </a:accent3>
    <a:accent4>
      <a:srgbClr val="EFA900"/>
    </a:accent4>
    <a:accent5>
      <a:srgbClr val="7F888F"/>
    </a:accent5>
    <a:accent6>
      <a:srgbClr val="B2B2B2"/>
    </a:accent6>
    <a:hlink>
      <a:srgbClr val="355B96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55B96"/>
    </a:accent1>
    <a:accent2>
      <a:srgbClr val="1EAE9F"/>
    </a:accent2>
    <a:accent3>
      <a:srgbClr val="1181BA"/>
    </a:accent3>
    <a:accent4>
      <a:srgbClr val="EFA900"/>
    </a:accent4>
    <a:accent5>
      <a:srgbClr val="7F888F"/>
    </a:accent5>
    <a:accent6>
      <a:srgbClr val="B2B2B2"/>
    </a:accent6>
    <a:hlink>
      <a:srgbClr val="355B96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55B96"/>
    </a:accent1>
    <a:accent2>
      <a:srgbClr val="1EAE9F"/>
    </a:accent2>
    <a:accent3>
      <a:srgbClr val="1181BA"/>
    </a:accent3>
    <a:accent4>
      <a:srgbClr val="EFA900"/>
    </a:accent4>
    <a:accent5>
      <a:srgbClr val="7F888F"/>
    </a:accent5>
    <a:accent6>
      <a:srgbClr val="B2B2B2"/>
    </a:accent6>
    <a:hlink>
      <a:srgbClr val="355B96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90</TotalTime>
  <Words>2866</Words>
  <Application>Microsoft Office PowerPoint</Application>
  <PresentationFormat>宽屏</PresentationFormat>
  <Paragraphs>305</Paragraphs>
  <Slides>4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8</vt:i4>
      </vt:variant>
    </vt:vector>
  </HeadingPairs>
  <TitlesOfParts>
    <vt:vector size="58" baseType="lpstr">
      <vt:lpstr>ui-monospace</vt:lpstr>
      <vt:lpstr>等线</vt:lpstr>
      <vt:lpstr>Arial</vt:lpstr>
      <vt:lpstr>Arial Rounded MT Bold</vt:lpstr>
      <vt:lpstr>Calibri</vt:lpstr>
      <vt:lpstr>Consolas</vt:lpstr>
      <vt:lpstr>Impact</vt:lpstr>
      <vt:lpstr>Wingdings</vt:lpstr>
      <vt:lpstr>主题5</vt:lpstr>
      <vt:lpstr>think-cell Slide</vt:lpstr>
      <vt:lpstr>cuda编程从入门到入土</vt:lpstr>
      <vt:lpstr>cuda 安装</vt:lpstr>
      <vt:lpstr>cuda安装</vt:lpstr>
      <vt:lpstr>Vscode插件</vt:lpstr>
      <vt:lpstr>安装vs</vt:lpstr>
      <vt:lpstr>cuda cpp编程</vt:lpstr>
      <vt:lpstr>gpu执行步骤</vt:lpstr>
      <vt:lpstr>Hello gpu</vt:lpstr>
      <vt:lpstr>Hello gpu</vt:lpstr>
      <vt:lpstr>Hello gpu</vt:lpstr>
      <vt:lpstr>编译程序</vt:lpstr>
      <vt:lpstr>线程、块和网格</vt:lpstr>
      <vt:lpstr>索引</vt:lpstr>
      <vt:lpstr>索引</vt:lpstr>
      <vt:lpstr>显存分配</vt:lpstr>
      <vt:lpstr>网格大小匹配</vt:lpstr>
      <vt:lpstr>网格大小匹配</vt:lpstr>
      <vt:lpstr>错误处理</vt:lpstr>
      <vt:lpstr>cuda 性能分析</vt:lpstr>
      <vt:lpstr>性能分析</vt:lpstr>
      <vt:lpstr>性能分析</vt:lpstr>
      <vt:lpstr>性能分析</vt:lpstr>
      <vt:lpstr>性能分析</vt:lpstr>
      <vt:lpstr>流多处理器</vt:lpstr>
      <vt:lpstr>流多处理器</vt:lpstr>
      <vt:lpstr>GPU信息获取</vt:lpstr>
      <vt:lpstr>cuda 显存管理</vt:lpstr>
      <vt:lpstr>统一内存（UM）</vt:lpstr>
      <vt:lpstr>异步预取</vt:lpstr>
      <vt:lpstr>异步预取</vt:lpstr>
      <vt:lpstr>手动分配内存</vt:lpstr>
      <vt:lpstr>手动分配内存</vt:lpstr>
      <vt:lpstr>cuda 流</vt:lpstr>
      <vt:lpstr>默认流</vt:lpstr>
      <vt:lpstr>流行为</vt:lpstr>
      <vt:lpstr>使用流</vt:lpstr>
      <vt:lpstr>使用流</vt:lpstr>
      <vt:lpstr>通过流实现内存分配</vt:lpstr>
      <vt:lpstr>cuda 共享内存</vt:lpstr>
      <vt:lpstr>共享内存</vt:lpstr>
      <vt:lpstr>共享内存</vt:lpstr>
      <vt:lpstr>程序计时</vt:lpstr>
      <vt:lpstr>存储块冲突</vt:lpstr>
      <vt:lpstr>Numba实现并行算法</vt:lpstr>
      <vt:lpstr>Numba的安装</vt:lpstr>
      <vt:lpstr>编写kernel函数</vt:lpstr>
      <vt:lpstr>常用操作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鲁 立宇</cp:lastModifiedBy>
  <cp:revision>165</cp:revision>
  <cp:lastPrinted>2019-03-03T16:00:00Z</cp:lastPrinted>
  <dcterms:created xsi:type="dcterms:W3CDTF">2019-03-03T16:00:00Z</dcterms:created>
  <dcterms:modified xsi:type="dcterms:W3CDTF">2021-09-21T08:2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